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3.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8.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tags/tag46.xml" ContentType="application/vnd.openxmlformats-officedocument.presentationml.tags+xml"/>
  <Override PartName="/ppt/notesSlides/notesSlide38.xml" ContentType="application/vnd.openxmlformats-officedocument.presentationml.notesSlide+xml"/>
  <Override PartName="/ppt/tags/tag47.xml" ContentType="application/vnd.openxmlformats-officedocument.presentationml.tags+xml"/>
  <Override PartName="/ppt/notesSlides/notesSlide39.xml" ContentType="application/vnd.openxmlformats-officedocument.presentationml.notesSlide+xml"/>
  <Override PartName="/ppt/tags/tag48.xml" ContentType="application/vnd.openxmlformats-officedocument.presentationml.tags+xml"/>
  <Override PartName="/ppt/notesSlides/notesSlide4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704" r:id="rId5"/>
    <p:sldMasterId id="2147483660" r:id="rId6"/>
    <p:sldMasterId id="2147483786" r:id="rId7"/>
    <p:sldMasterId id="2147483998" r:id="rId8"/>
    <p:sldMasterId id="2147484089" r:id="rId9"/>
    <p:sldMasterId id="2147484143" r:id="rId10"/>
    <p:sldMasterId id="2147484172" r:id="rId11"/>
    <p:sldMasterId id="2147484211" r:id="rId12"/>
  </p:sldMasterIdLst>
  <p:notesMasterIdLst>
    <p:notesMasterId r:id="rId53"/>
  </p:notesMasterIdLst>
  <p:handoutMasterIdLst>
    <p:handoutMasterId r:id="rId54"/>
  </p:handoutMasterIdLst>
  <p:sldIdLst>
    <p:sldId id="2076138181" r:id="rId13"/>
    <p:sldId id="2147481753" r:id="rId14"/>
    <p:sldId id="2147481763" r:id="rId15"/>
    <p:sldId id="2147481762" r:id="rId16"/>
    <p:sldId id="2147481761" r:id="rId17"/>
    <p:sldId id="2147481773" r:id="rId18"/>
    <p:sldId id="2147481792" r:id="rId19"/>
    <p:sldId id="2147481754" r:id="rId20"/>
    <p:sldId id="2147469502" r:id="rId21"/>
    <p:sldId id="2147469504" r:id="rId22"/>
    <p:sldId id="2147469505" r:id="rId23"/>
    <p:sldId id="2147469506" r:id="rId24"/>
    <p:sldId id="2147481746" r:id="rId25"/>
    <p:sldId id="2147481748" r:id="rId26"/>
    <p:sldId id="2147481648" r:id="rId27"/>
    <p:sldId id="2147481779" r:id="rId28"/>
    <p:sldId id="2147481780" r:id="rId29"/>
    <p:sldId id="2147481715" r:id="rId30"/>
    <p:sldId id="2147470643" r:id="rId31"/>
    <p:sldId id="2147481696" r:id="rId32"/>
    <p:sldId id="2147481695" r:id="rId33"/>
    <p:sldId id="2147481649" r:id="rId34"/>
    <p:sldId id="2147471609" r:id="rId35"/>
    <p:sldId id="2147471610" r:id="rId36"/>
    <p:sldId id="2147471607" r:id="rId37"/>
    <p:sldId id="2147471608" r:id="rId38"/>
    <p:sldId id="2147470756" r:id="rId39"/>
    <p:sldId id="2147481708" r:id="rId40"/>
    <p:sldId id="2147481699" r:id="rId41"/>
    <p:sldId id="2147481700" r:id="rId42"/>
    <p:sldId id="2147481650" r:id="rId43"/>
    <p:sldId id="2147470661" r:id="rId44"/>
    <p:sldId id="2147481709" r:id="rId45"/>
    <p:sldId id="2147470652" r:id="rId46"/>
    <p:sldId id="2147470587" r:id="rId47"/>
    <p:sldId id="2147470653" r:id="rId48"/>
    <p:sldId id="2147470642" r:id="rId49"/>
    <p:sldId id="2147481702" r:id="rId50"/>
    <p:sldId id="2147481703" r:id="rId51"/>
    <p:sldId id="2147481735"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2_Lab_Exercises continuation.pptx" id="{0427900E-D649-4EA7-A87B-FC645E8272C6}">
          <p14:sldIdLst>
            <p14:sldId id="2076138181"/>
          </p14:sldIdLst>
        </p14:section>
        <p14:section name="Welcome Day 2" id="{AA6BD1E1-1BB3-4BAE-B741-04B94CF9229B}">
          <p14:sldIdLst>
            <p14:sldId id="2147481753"/>
            <p14:sldId id="2147481763"/>
            <p14:sldId id="2147481762"/>
            <p14:sldId id="2147481761"/>
            <p14:sldId id="2147481773"/>
            <p14:sldId id="2147481792"/>
            <p14:sldId id="2147481754"/>
            <p14:sldId id="2147469502"/>
            <p14:sldId id="2147469504"/>
            <p14:sldId id="2147469505"/>
            <p14:sldId id="2147469506"/>
            <p14:sldId id="2147481746"/>
            <p14:sldId id="2147481748"/>
          </p14:sldIdLst>
        </p14:section>
        <p14:section name="Improve and deploy your application (part 2)" id="{A6F6D514-151C-4952-AB61-616A475B2096}">
          <p14:sldIdLst>
            <p14:sldId id="2147481648"/>
            <p14:sldId id="2147481779"/>
            <p14:sldId id="2147481780"/>
            <p14:sldId id="2147481715"/>
            <p14:sldId id="2147470643"/>
            <p14:sldId id="2147481696"/>
            <p14:sldId id="2147481695"/>
          </p14:sldIdLst>
        </p14:section>
        <p14:section name="Implement load testing and secure practices" id="{2AC7C0A4-F190-4069-858E-45A99D77B76C}">
          <p14:sldIdLst>
            <p14:sldId id="2147481649"/>
            <p14:sldId id="2147471609"/>
            <p14:sldId id="2147471610"/>
            <p14:sldId id="2147471607"/>
            <p14:sldId id="2147471608"/>
            <p14:sldId id="2147470756"/>
            <p14:sldId id="2147481708"/>
            <p14:sldId id="2147481699"/>
            <p14:sldId id="2147481700"/>
          </p14:sldIdLst>
        </p14:section>
        <p14:section name="Make things secure" id="{70DDFBD1-E507-4018-814F-5B3CC3BD68BF}">
          <p14:sldIdLst>
            <p14:sldId id="2147481650"/>
            <p14:sldId id="2147470661"/>
            <p14:sldId id="2147481709"/>
            <p14:sldId id="2147470652"/>
            <p14:sldId id="2147470587"/>
            <p14:sldId id="2147470653"/>
            <p14:sldId id="2147470642"/>
            <p14:sldId id="2147481702"/>
            <p14:sldId id="2147481703"/>
            <p14:sldId id="21474817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05E"/>
    <a:srgbClr val="53358D"/>
    <a:srgbClr val="005A9F"/>
    <a:srgbClr val="8661C5"/>
    <a:srgbClr val="8E6BCA"/>
    <a:srgbClr val="C9C2D5"/>
    <a:srgbClr val="E9EDF1"/>
    <a:srgbClr val="DFDCE5"/>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367977-94AB-4798-8C2E-87A82B327A14}" v="51" dt="2023-11-16T19:19:06.122"/>
    <p1510:client id="{F531ECAA-4CF9-1587-9773-8F7C6413E9C4}" v="4" dt="2023-11-28T20:10:12.563"/>
    <p1510:client id="{F83C370F-83CA-0BF6-A995-DCA7E6AA23BE}" v="42" dt="2023-12-05T23:58:19.8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76709" autoAdjust="0"/>
  </p:normalViewPr>
  <p:slideViewPr>
    <p:cSldViewPr snapToGrid="0">
      <p:cViewPr varScale="1">
        <p:scale>
          <a:sx n="111" d="100"/>
          <a:sy n="111" d="100"/>
        </p:scale>
        <p:origin x="594"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handoutMaster" Target="handoutMasters/handout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3/5/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3/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ev.azure.com/OneCommercial/NoCode/_wiki/wikis/NoCode.wiki/12/Hybrid-Subscription"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azure/azure-monitor/app/app-insights-over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azure-monitor/app/app-insights-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earn.microsoft.com/en-us/azure/well-architected/scalability/performance-tes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learn.microsoft.com/en-us/azure/well-architected/scalability/performance-tes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learn.microsoft.com/en-us/azure/load-testing/overview-what-is-azure-load-testing"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learn.microsoft.com/en-us/azure/frontdoor/front-door-routing-methods#priority-based-traffic-routing" TargetMode="External"/><Relationship Id="rId3" Type="http://schemas.openxmlformats.org/officeDocument/2006/relationships/hyperlink" Target="https://learn.microsoft.com/en-us/azure/well-architected/scalability/performance-test" TargetMode="External"/><Relationship Id="rId7" Type="http://schemas.openxmlformats.org/officeDocument/2006/relationships/hyperlink" Target="https://learn.microsoft.com/en-us/azure/frontdoor/front-door-overview"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learn.microsoft.com/en-us/azure/azure-monitor/platform/autoscale-best-practices" TargetMode="External"/><Relationship Id="rId5" Type="http://schemas.openxmlformats.org/officeDocument/2006/relationships/hyperlink" Target="https://github.com/mspnp/samples/tree/master/OperationalExcellence/ResourceLimits" TargetMode="External"/><Relationship Id="rId4" Type="http://schemas.openxmlformats.org/officeDocument/2006/relationships/hyperlink" Target="https://learn.microsoft.com/en-us/azure/azure-resource-manager/management/azure-subscription-service-limit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azure/well-architected/scalability/performance-test#stress-testing"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learn.microsoft.com/en-us/azure/load-testing/overview-what-is-azure-load-testing" TargetMode="External"/><Relationship Id="rId4" Type="http://schemas.openxmlformats.org/officeDocument/2006/relationships/hyperlink" Target="https://learn.microsoft.com/en-us/azure/well-architected/scalability/load-test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US" b="1" i="0" dirty="0">
                <a:solidFill>
                  <a:srgbClr val="24292E"/>
                </a:solidFill>
                <a:effectLst/>
                <a:latin typeface="Segoe UI" panose="020B0502040204020203" pitchFamily="34" charset="0"/>
                <a:cs typeface="Segoe UI" panose="020B0502040204020203" pitchFamily="34" charset="0"/>
              </a:rPr>
              <a:t>Important notes:</a:t>
            </a:r>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Links to lab/exercises on GitHub</a:t>
            </a:r>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https://github.com/microsoft/TechExcel-Implementing-DevOps-practices-to-accelerate-developer-productivity-code</a:t>
            </a:r>
          </a:p>
          <a:p>
            <a:pPr algn="l">
              <a:buFont typeface="+mj-lt"/>
              <a:buNone/>
            </a:pPr>
            <a:r>
              <a:rPr lang="en-US" b="0" i="0" dirty="0">
                <a:solidFill>
                  <a:srgbClr val="24292E"/>
                </a:solidFill>
                <a:effectLst/>
                <a:latin typeface="-apple-system"/>
              </a:rPr>
              <a:t>https://github.com/microsoft/TechExcel-Implementing-DevOps-practices-to-accelerate-developer-productivit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Hybrid subscription WIKI </a:t>
            </a:r>
            <a:br>
              <a:rPr lang="en-US" b="0" i="0" dirty="0">
                <a:solidFill>
                  <a:srgbClr val="24292E"/>
                </a:solidFill>
                <a:effectLst/>
                <a:latin typeface="-apple-system"/>
              </a:rPr>
            </a:br>
            <a:r>
              <a:rPr lang="en-US" dirty="0">
                <a:hlinkClick r:id="rId3"/>
              </a:rPr>
              <a:t>Hybrid Subscription - Overview (azure.com)</a:t>
            </a:r>
            <a:endParaRPr lang="en-US" b="0" i="0" dirty="0">
              <a:solidFill>
                <a:srgbClr val="24292E"/>
              </a:solidFill>
              <a:effectLst/>
              <a:latin typeface="-apple-system"/>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b="1" dirty="0"/>
          </a:p>
          <a:p>
            <a:r>
              <a:rPr lang="en-US" b="1" dirty="0"/>
              <a:t>SAY:</a:t>
            </a:r>
          </a:p>
          <a:p>
            <a:endParaRPr lang="en-US" dirty="0"/>
          </a:p>
          <a:p>
            <a:r>
              <a:rPr lang="en-US" dirty="0"/>
              <a:t>Microsoft’s unified </a:t>
            </a:r>
            <a:r>
              <a:rPr lang="en-US" dirty="0" err="1"/>
              <a:t>DevSecOps</a:t>
            </a:r>
            <a:r>
              <a:rPr lang="en-US" dirty="0"/>
              <a:t> solution relies on two main components: </a:t>
            </a:r>
          </a:p>
          <a:p>
            <a:pPr marL="457200" indent="-457200">
              <a:buFont typeface="+mj-lt"/>
              <a:buAutoNum type="arabicPeriod"/>
            </a:pPr>
            <a:r>
              <a:rPr lang="en-US" dirty="0"/>
              <a:t>Making sure we are securing the developer workflow as code is being created</a:t>
            </a:r>
          </a:p>
          <a:p>
            <a:pPr marL="457200" indent="-457200">
              <a:buFont typeface="+mj-lt"/>
              <a:buAutoNum type="arabicPeriod"/>
            </a:pPr>
            <a:r>
              <a:rPr lang="en-US" dirty="0"/>
              <a:t>Security operations, which tends to the code after it’s deployed in production.</a:t>
            </a:r>
          </a:p>
          <a:p>
            <a:pPr marL="228600" indent="-228600">
              <a:buAutoNum type="arabicPeriod"/>
            </a:pPr>
            <a:endParaRPr lang="en-US" dirty="0"/>
          </a:p>
          <a:p>
            <a:r>
              <a:rPr lang="en-US" dirty="0"/>
              <a:t>Let’s dig into the development section first. We have an extensive solution thanks to GitHub and Azure’s combined forces. </a:t>
            </a:r>
          </a:p>
          <a:p>
            <a:pPr marL="342900" indent="-342900">
              <a:buFont typeface="Arial" panose="020B0604020202020204" pitchFamily="34" charset="0"/>
              <a:buChar char="•"/>
            </a:pPr>
            <a:r>
              <a:rPr lang="en-US" dirty="0"/>
              <a:t>Visual Studio Code: Provides a virtual development environment for any developer regardless of their local capabilities</a:t>
            </a:r>
          </a:p>
          <a:p>
            <a:pPr marL="342900" indent="-342900">
              <a:buFont typeface="Arial" panose="020B0604020202020204" pitchFamily="34" charset="0"/>
              <a:buChar char="•"/>
            </a:pPr>
            <a:r>
              <a:rPr lang="en-US" dirty="0"/>
              <a:t>Same goes for GitHub </a:t>
            </a:r>
            <a:r>
              <a:rPr lang="en-US" dirty="0" err="1"/>
              <a:t>Codespaces</a:t>
            </a:r>
            <a:r>
              <a:rPr lang="en-US" dirty="0"/>
              <a:t> capabilities: It’s essentially an entire development lifecycle tool that’s in the cloud, that’s makes it super easy to onboard new developers to your team, and work with contractors or third parties. It also has a lot of built-in intellectual property protection capabilities. This is because code is no longer being dispersed into multiple locations.</a:t>
            </a:r>
          </a:p>
          <a:p>
            <a:pPr marL="342900" indent="-342900">
              <a:buFont typeface="Arial" panose="020B0604020202020204" pitchFamily="34" charset="0"/>
              <a:buChar char="•"/>
            </a:pPr>
            <a:r>
              <a:rPr lang="en-US" dirty="0"/>
              <a:t>Additional components like GitHub Repos and GitHub Actions — really help our customers deploy the code they want to, wherever they want. </a:t>
            </a:r>
          </a:p>
          <a:p>
            <a:pPr marL="342900" indent="-342900">
              <a:buFont typeface="Arial" panose="020B0604020202020204" pitchFamily="34" charset="0"/>
              <a:buChar char="•"/>
            </a:pPr>
            <a:r>
              <a:rPr lang="en-US" dirty="0"/>
              <a:t>Finally, we have security guidance and continuous feedback through GitHub Advanced Security, which includes code scanning, secret scanning, and dependency scanning. </a:t>
            </a:r>
          </a:p>
          <a:p>
            <a:pPr marL="0" indent="0">
              <a:buFontTx/>
              <a:buNone/>
            </a:pPr>
            <a:endParaRPr lang="en-US" dirty="0"/>
          </a:p>
          <a:p>
            <a:pPr marL="0" indent="0">
              <a:buFontTx/>
              <a:buNone/>
            </a:pPr>
            <a:r>
              <a:rPr lang="en-US" dirty="0"/>
              <a:t>We’ve also compiled a strong, unified set of SecOps tools that help proactively defend against threats:</a:t>
            </a:r>
          </a:p>
          <a:p>
            <a:pPr marL="342900" indent="-342900">
              <a:buFont typeface="Arial" panose="020B0604020202020204" pitchFamily="34" charset="0"/>
              <a:buChar char="•"/>
            </a:pPr>
            <a:r>
              <a:rPr lang="en-US" dirty="0"/>
              <a:t>For identity management services, use Azure AD to instill zero-trust security throughout your organization</a:t>
            </a:r>
          </a:p>
          <a:p>
            <a:pPr marL="342900" indent="-342900">
              <a:buFont typeface="Arial" panose="020B0604020202020204" pitchFamily="34" charset="0"/>
              <a:buChar char="•"/>
            </a:pPr>
            <a:r>
              <a:rPr lang="en-US" dirty="0"/>
              <a:t>Leverage Azure Policy and Azure Key Vault to systematically apply policies across applications and projects while storing secrets outside of your code. </a:t>
            </a:r>
          </a:p>
          <a:p>
            <a:pPr marL="342900" indent="-342900">
              <a:buFont typeface="Arial" panose="020B0604020202020204" pitchFamily="34" charset="0"/>
              <a:buChar char="•"/>
            </a:pPr>
            <a:r>
              <a:rPr lang="en-US" dirty="0"/>
              <a:t>With Azure Security Center you have all the tools necessary to anticipate and remediate threats wherever your applications live. </a:t>
            </a:r>
          </a:p>
          <a:p>
            <a:pPr marL="342900" indent="-342900">
              <a:buFont typeface="Arial" panose="020B0604020202020204" pitchFamily="34" charset="0"/>
              <a:buChar char="•"/>
            </a:pPr>
            <a:r>
              <a:rPr lang="en-US" dirty="0"/>
              <a:t>And with Azure Sentinel, your enterprise has access to intelligent, security analytics that allow you to view a birds-eye-view across your organization.</a:t>
            </a:r>
          </a:p>
          <a:p>
            <a:pPr marL="342900" indent="-342900">
              <a:buFont typeface="Arial" panose="020B0604020202020204" pitchFamily="34" charset="0"/>
              <a:buChar char="•"/>
            </a:pPr>
            <a:endParaRPr lang="en-US" dirty="0"/>
          </a:p>
          <a:p>
            <a:pPr marL="0" indent="0">
              <a:buFontTx/>
              <a:buNone/>
            </a:pPr>
            <a:endParaRPr lang="en-US" dirty="0"/>
          </a:p>
          <a:p>
            <a:pPr marL="0" indent="0">
              <a:buFontTx/>
              <a:buNone/>
            </a:pPr>
            <a:r>
              <a:rPr lang="en-US" dirty="0"/>
              <a:t>All these capabilities fully integrate with one another and deployed together in Azure, making this a complete, unified solution for secure developmen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6CDAB9-777E-4B17-AA69-54DD5C11C8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565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100"/>
              <a:buNone/>
            </a:pPr>
            <a:r>
              <a:rPr lang="en-US" b="1" dirty="0"/>
              <a:t>Speaker’s notes:</a:t>
            </a:r>
          </a:p>
          <a:p>
            <a:pPr marL="0" lvl="0" indent="0" algn="l" rtl="0">
              <a:lnSpc>
                <a:spcPct val="100000"/>
              </a:lnSpc>
              <a:spcBef>
                <a:spcPts val="0"/>
              </a:spcBef>
              <a:spcAft>
                <a:spcPts val="0"/>
              </a:spcAft>
              <a:buSzPts val="1100"/>
              <a:buNone/>
            </a:pPr>
            <a:endParaRPr lang="en-US" b="1" dirty="0"/>
          </a:p>
          <a:p>
            <a:pPr marL="0" lvl="0" indent="0" algn="l" rtl="0">
              <a:lnSpc>
                <a:spcPct val="100000"/>
              </a:lnSpc>
              <a:spcBef>
                <a:spcPts val="0"/>
              </a:spcBef>
              <a:spcAft>
                <a:spcPts val="0"/>
              </a:spcAft>
              <a:buSzPts val="1100"/>
              <a:buNone/>
            </a:pPr>
            <a:r>
              <a:rPr lang="en-US" b="1" dirty="0"/>
              <a:t>SAY:</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This unified </a:t>
            </a:r>
            <a:r>
              <a:rPr lang="en-US" dirty="0" err="1"/>
              <a:t>DevSecOps</a:t>
            </a:r>
            <a:r>
              <a:rPr lang="en-US" dirty="0"/>
              <a:t> solution makes it easier for organizations to realize the core </a:t>
            </a:r>
            <a:r>
              <a:rPr lang="en-US" dirty="0" err="1"/>
              <a:t>DevSecOps</a:t>
            </a:r>
            <a:r>
              <a:rPr lang="en-US" dirty="0"/>
              <a:t> benefits of: </a:t>
            </a:r>
            <a:endParaRPr lang="en-US" sz="1200" b="0" dirty="0">
              <a:solidFill>
                <a:schemeClr val="tx1"/>
              </a:solidFill>
              <a:latin typeface="+mn-lt"/>
              <a:ea typeface="+mn-ea"/>
              <a:cs typeface="+mn-cs"/>
            </a:endParaRPr>
          </a:p>
          <a:p>
            <a:pPr marL="571500" lvl="0" indent="-342900" algn="l" defTabSz="914400" rtl="0" eaLnBrk="1" latinLnBrk="0" hangingPunct="1">
              <a:lnSpc>
                <a:spcPct val="100000"/>
              </a:lnSpc>
              <a:spcBef>
                <a:spcPts val="0"/>
              </a:spcBef>
              <a:spcAft>
                <a:spcPts val="0"/>
              </a:spcAft>
              <a:buSzPts val="1100"/>
              <a:buFont typeface="Arial" panose="020B0604020202020204" pitchFamily="34" charset="0"/>
              <a:buChar char="•"/>
            </a:pPr>
            <a:r>
              <a:rPr lang="en-US" sz="1200" kern="1200" dirty="0">
                <a:solidFill>
                  <a:schemeClr val="tx1"/>
                </a:solidFill>
                <a:latin typeface="+mn-lt"/>
                <a:ea typeface="+mn-ea"/>
                <a:cs typeface="+mn-cs"/>
              </a:rPr>
              <a:t>Bridging the divide across DevOps and SecOps teams</a:t>
            </a:r>
          </a:p>
          <a:p>
            <a:pPr marL="571500" marR="0" lvl="0" indent="-342900" algn="l" defTabSz="914400" rtl="0" eaLnBrk="1" fontAlgn="auto" latinLnBrk="0" hangingPunct="1">
              <a:lnSpc>
                <a:spcPct val="100000"/>
              </a:lnSpc>
              <a:spcBef>
                <a:spcPts val="0"/>
              </a:spcBef>
              <a:spcAft>
                <a:spcPts val="0"/>
              </a:spcAft>
              <a:buClrTx/>
              <a:buSzPts val="1100"/>
              <a:buFont typeface="Arial" panose="020B0604020202020204" pitchFamily="34" charset="0"/>
              <a:buChar char="•"/>
              <a:tabLst/>
              <a:defRPr/>
            </a:pPr>
            <a:r>
              <a:rPr lang="en-US" sz="1200" kern="1200" dirty="0">
                <a:solidFill>
                  <a:schemeClr val="tx1"/>
                </a:solidFill>
                <a:latin typeface="+mn-lt"/>
                <a:ea typeface="+mn-ea"/>
                <a:cs typeface="+mn-cs"/>
              </a:rPr>
              <a:t>Securing your development environments</a:t>
            </a:r>
          </a:p>
          <a:p>
            <a:pPr marL="571500" marR="0" lvl="0" indent="-342900" algn="l" defTabSz="914400" rtl="0" eaLnBrk="1" fontAlgn="auto" latinLnBrk="0" hangingPunct="1">
              <a:lnSpc>
                <a:spcPct val="100000"/>
              </a:lnSpc>
              <a:spcBef>
                <a:spcPts val="0"/>
              </a:spcBef>
              <a:spcAft>
                <a:spcPts val="0"/>
              </a:spcAft>
              <a:buClrTx/>
              <a:buSzPts val="1100"/>
              <a:buFont typeface="Arial" panose="020B0604020202020204" pitchFamily="34" charset="0"/>
              <a:buChar char="•"/>
              <a:tabLst/>
              <a:defRPr/>
            </a:pPr>
            <a:r>
              <a:rPr lang="en-US" sz="1200" kern="1200" dirty="0">
                <a:solidFill>
                  <a:schemeClr val="tx1"/>
                </a:solidFill>
                <a:latin typeface="+mn-lt"/>
                <a:ea typeface="+mn-ea"/>
                <a:cs typeface="+mn-cs"/>
              </a:rPr>
              <a:t>And easily allows you to embed security in your developer workflow</a:t>
            </a:r>
          </a:p>
          <a:p>
            <a:pPr marL="0" lvl="0" indent="0" algn="l" rtl="0">
              <a:lnSpc>
                <a:spcPct val="100000"/>
              </a:lnSpc>
              <a:spcBef>
                <a:spcPts val="0"/>
              </a:spcBef>
              <a:spcAft>
                <a:spcPts val="0"/>
              </a:spcAft>
              <a:buSzPts val="1100"/>
              <a:buFont typeface="Arial" panose="020B0604020202020204" pitchFamily="34" charset="0"/>
              <a:buNone/>
            </a:pPr>
            <a:endParaRPr lang="en-US" dirty="0"/>
          </a:p>
          <a:p>
            <a:pPr marL="0" lvl="0" indent="0" algn="l" rtl="0">
              <a:lnSpc>
                <a:spcPct val="100000"/>
              </a:lnSpc>
              <a:spcBef>
                <a:spcPts val="0"/>
              </a:spcBef>
              <a:spcAft>
                <a:spcPts val="0"/>
              </a:spcAft>
              <a:buSzPts val="1100"/>
              <a:buFont typeface="Arial" panose="020B0604020202020204" pitchFamily="34" charset="0"/>
              <a:buNone/>
            </a:pPr>
            <a:r>
              <a:rPr lang="en-US" dirty="0"/>
              <a:t>Let’s dive into each of these topics a little further.</a:t>
            </a:r>
          </a:p>
          <a:p>
            <a:pPr marL="0" lvl="0" indent="0" algn="l" rtl="0">
              <a:lnSpc>
                <a:spcPct val="100000"/>
              </a:lnSpc>
              <a:spcBef>
                <a:spcPts val="0"/>
              </a:spcBef>
              <a:spcAft>
                <a:spcPts val="0"/>
              </a:spcAft>
              <a:buSzPts val="1100"/>
              <a:buFont typeface="Arial" panose="020B0604020202020204" pitchFamily="34" charset="0"/>
              <a:buNone/>
            </a:pPr>
            <a:endParaRPr lang="en-US" dirty="0"/>
          </a:p>
          <a:p>
            <a:pPr marL="0" lvl="0" indent="0" algn="l" rtl="0">
              <a:lnSpc>
                <a:spcPct val="100000"/>
              </a:lnSpc>
              <a:spcBef>
                <a:spcPts val="0"/>
              </a:spcBef>
              <a:spcAft>
                <a:spcPts val="0"/>
              </a:spcAft>
              <a:buSzPts val="110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a:sym typeface="Arial"/>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a:sym typeface="Arial"/>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a:sym typeface="Arial"/>
            </a:endParaRPr>
          </a:p>
        </p:txBody>
      </p:sp>
    </p:spTree>
    <p:extLst>
      <p:ext uri="{BB962C8B-B14F-4D97-AF65-F5344CB8AC3E}">
        <p14:creationId xmlns:p14="http://schemas.microsoft.com/office/powerpoint/2010/main" val="865417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cs typeface="Calibr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Next, let's discuss securing the development environmen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D4857-D747-4660-B955-196E9E55CD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1842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pplication Insights overview - Azure Monitor | Microsoft Learn</a:t>
            </a:r>
            <a:endParaRPr lang="en-US" dirty="0"/>
          </a:p>
          <a:p>
            <a:endParaRPr lang="en-US" b="1" i="0" dirty="0">
              <a:effectLst/>
              <a:latin typeface="Segoe UI"/>
              <a:cs typeface="Segoe UI"/>
            </a:endParaRPr>
          </a:p>
          <a:p>
            <a:r>
              <a:rPr lang="en-US" b="1" i="0" dirty="0">
                <a:effectLst/>
                <a:latin typeface="Segoe UI"/>
                <a:cs typeface="Segoe UI"/>
              </a:rPr>
              <a:t>Speaker’s notes:</a:t>
            </a:r>
          </a:p>
          <a:p>
            <a:endParaRPr lang="en-US" b="1" i="0" dirty="0">
              <a:effectLst/>
              <a:latin typeface="Segoe UI"/>
              <a:cs typeface="Segoe UI"/>
            </a:endParaRPr>
          </a:p>
          <a:p>
            <a:r>
              <a:rPr lang="en-US" b="0" i="0" dirty="0">
                <a:effectLst/>
                <a:latin typeface="Segoe UI"/>
                <a:cs typeface="Segoe UI"/>
              </a:rPr>
              <a:t>Experiences</a:t>
            </a:r>
          </a:p>
          <a:p>
            <a:pPr marL="628650" lvl="1" indent="-171450">
              <a:buFont typeface="Arial" panose="020B0604020202020204" pitchFamily="34" charset="0"/>
              <a:buChar char="•"/>
            </a:pPr>
            <a:r>
              <a:rPr lang="en-US" b="0" i="0" dirty="0">
                <a:effectLst/>
                <a:latin typeface="Segoe UI"/>
                <a:cs typeface="Segoe UI"/>
              </a:rPr>
              <a:t>Investigate</a:t>
            </a:r>
          </a:p>
          <a:p>
            <a:pPr marL="628650" lvl="1" indent="-171450">
              <a:buFont typeface="Arial" panose="020B0604020202020204" pitchFamily="34" charset="0"/>
              <a:buChar char="•"/>
            </a:pPr>
            <a:r>
              <a:rPr lang="en-US" b="0" i="0" dirty="0">
                <a:effectLst/>
                <a:latin typeface="Segoe UI"/>
                <a:cs typeface="Segoe UI"/>
              </a:rPr>
              <a:t>Usage</a:t>
            </a:r>
          </a:p>
          <a:p>
            <a:pPr marL="628650" lvl="1" indent="-171450">
              <a:buFont typeface="Arial" panose="020B0604020202020204" pitchFamily="34" charset="0"/>
              <a:buChar char="•"/>
            </a:pPr>
            <a:r>
              <a:rPr lang="en-US" b="0" i="0" dirty="0">
                <a:effectLst/>
                <a:latin typeface="Segoe UI"/>
                <a:cs typeface="Segoe UI"/>
              </a:rPr>
              <a:t>Code analysis</a:t>
            </a:r>
          </a:p>
          <a:p>
            <a:r>
              <a:rPr lang="en-US" b="0" i="0" dirty="0">
                <a:effectLst/>
                <a:latin typeface="Segoe UI"/>
                <a:cs typeface="Segoe UI"/>
              </a:rPr>
              <a:t>Logic Model</a:t>
            </a:r>
          </a:p>
          <a:p>
            <a:r>
              <a:rPr lang="en-US" b="0" i="0" dirty="0">
                <a:effectLst/>
                <a:latin typeface="Segoe UI"/>
                <a:cs typeface="Segoe UI"/>
              </a:rPr>
              <a:t>Supported languages</a:t>
            </a:r>
          </a:p>
          <a:p>
            <a:endParaRPr lang="en-US" b="0" i="0" dirty="0">
              <a:effectLst/>
              <a:latin typeface="Segoe UI"/>
              <a:cs typeface="Segoe UI"/>
            </a:endParaRPr>
          </a:p>
          <a:p>
            <a:endParaRPr lang="en-US" dirty="0">
              <a:ea typeface="等线"/>
              <a:cs typeface="Calibri Light"/>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621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pplication Insights overview - Azure Monitor | Microsoft Learn</a:t>
            </a:r>
            <a:endParaRPr lang="en-US" dirty="0"/>
          </a:p>
          <a:p>
            <a:endParaRPr lang="en-US" b="1" i="0" dirty="0">
              <a:effectLst/>
              <a:latin typeface="Segoe UI"/>
              <a:cs typeface="Segoe UI"/>
            </a:endParaRPr>
          </a:p>
          <a:p>
            <a:r>
              <a:rPr lang="en-US" b="1" i="0" dirty="0">
                <a:effectLst/>
                <a:latin typeface="Segoe UI"/>
                <a:cs typeface="Segoe UI"/>
              </a:rPr>
              <a:t>Speaker’s notes:</a:t>
            </a:r>
          </a:p>
          <a:p>
            <a:endParaRPr lang="en-US" b="1" i="0" dirty="0">
              <a:effectLst/>
              <a:latin typeface="Segoe UI"/>
              <a:cs typeface="Segoe UI"/>
            </a:endParaRPr>
          </a:p>
          <a:p>
            <a:endParaRPr lang="en-US" dirty="0">
              <a:ea typeface="等线"/>
              <a:cs typeface="Calibri Light"/>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6649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dirty="0">
                <a:solidFill>
                  <a:srgbClr val="000000"/>
                </a:solidFill>
                <a:effectLst/>
                <a:latin typeface="Times New Roman"/>
                <a:ea typeface="Calibri" panose="020F0502020204030204" pitchFamily="34" charset="0"/>
                <a:cs typeface="Times New Roman"/>
              </a:rPr>
              <a:t>Speaker’s notes:</a:t>
            </a:r>
          </a:p>
          <a:p>
            <a:pPr algn="l"/>
            <a:endParaRPr lang="en-US" sz="900"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Display the slide to signal the start of Exercise 3.</a:t>
            </a: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Inform students that only the first two tasks in Exercise 3 will be completed in Day 1. The remaining two tasks will be completed in Day 2.</a:t>
            </a: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Exercise 3 will be debriefed when Exercise 3  is complet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34081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You've created a GitHub repository containing application code and a Bicep script. In this exercise,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marL="171450" indent="-171450" algn="l">
              <a:buFont typeface="Arial" panose="020B0604020202020204" pitchFamily="34" charset="0"/>
              <a:buChar char="•"/>
            </a:pPr>
            <a:endParaRPr lang="en-US" b="0" i="0" dirty="0">
              <a:solidFill>
                <a:srgbClr val="000000"/>
              </a:solidFill>
              <a:effectLst/>
              <a:latin typeface="Times New Roman" panose="02020603050405020304" pitchFamily="18"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a:p>
            <a:pPr marL="171450" indent="-171450" algn="l">
              <a:buFont typeface="Arial" panose="020B0604020202020204" pitchFamily="34" charset="0"/>
              <a:buChar char="•"/>
            </a:pPr>
            <a:endParaRPr lang="en-US" b="0" i="0" dirty="0">
              <a:solidFill>
                <a:srgbClr val="1F2328"/>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F2328"/>
                </a:solidFill>
                <a:effectLst/>
                <a:latin typeface="-apple-system"/>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form students that the instructions for completing the exercises are in the GitHub link TB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Proceed with the exercise.</a:t>
            </a:r>
          </a:p>
          <a:p>
            <a:pPr marL="0" indent="0" algn="l">
              <a:buFont typeface="Arial" panose="020B0604020202020204" pitchFamily="34" charset="0"/>
              <a:buNone/>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91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is exercise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523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algn="l"/>
            <a:r>
              <a:rPr lang="en-US" b="0" i="0" dirty="0">
                <a:solidFill>
                  <a:srgbClr val="000000"/>
                </a:solidFill>
                <a:effectLst/>
                <a:latin typeface="Times New Roman" panose="02020603050405020304" pitchFamily="18" charset="0"/>
              </a:rPr>
              <a:t>The final step in this exercise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b="1" dirty="0"/>
          </a:p>
          <a:p>
            <a:r>
              <a:rPr lang="en-US" b="1" dirty="0"/>
              <a:t>SAY:</a:t>
            </a:r>
          </a:p>
          <a:p>
            <a:endParaRPr lang="en-US" b="1" dirty="0"/>
          </a:p>
          <a:p>
            <a:pPr marL="171450" indent="-171450">
              <a:buFont typeface="Arial" panose="020B0604020202020204" pitchFamily="34" charset="0"/>
              <a:buChar char="•"/>
            </a:pPr>
            <a:r>
              <a:rPr lang="en-US" b="0" dirty="0"/>
              <a:t>Just as we did in day 1, we talked about the lab exercises before actually doing the exercises. Before breaking into your teams, let’s talk </a:t>
            </a:r>
            <a:r>
              <a:rPr lang="en-US" b="0"/>
              <a:t>about exercises 4 and 5.</a:t>
            </a:r>
            <a:endParaRPr lang="en-US" b="0" dirty="0"/>
          </a:p>
          <a:p>
            <a:endParaRPr lang="en-US" b="0" dirty="0"/>
          </a:p>
          <a:p>
            <a:pPr marL="171450" indent="-171450">
              <a:buFont typeface="Arial" panose="020B0604020202020204" pitchFamily="34" charset="0"/>
              <a:buChar char="•"/>
            </a:pPr>
            <a:endParaRPr lang="en-US" b="0" dirty="0"/>
          </a:p>
        </p:txBody>
      </p:sp>
      <p:sp>
        <p:nvSpPr>
          <p:cNvPr id="4" name="Slide Number Placeholder 3"/>
          <p:cNvSpPr>
            <a:spLocks noGrp="1"/>
          </p:cNvSpPr>
          <p:nvPr>
            <p:ph type="sldNum" sz="quarter" idx="5"/>
          </p:nvPr>
        </p:nvSpPr>
        <p:spPr/>
        <p:txBody>
          <a:bodyPr/>
          <a:lstStyle/>
          <a:p>
            <a:fld id="{8FBFA05F-1A8C-432D-BC54-796887A51DAB}" type="slidenum">
              <a:rPr lang="en-US" smtClean="0"/>
              <a:t>2</a:t>
            </a:fld>
            <a:endParaRPr lang="en-US"/>
          </a:p>
        </p:txBody>
      </p:sp>
    </p:spTree>
    <p:extLst>
      <p:ext uri="{BB962C8B-B14F-4D97-AF65-F5344CB8AC3E}">
        <p14:creationId xmlns:p14="http://schemas.microsoft.com/office/powerpoint/2010/main" val="28345671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effectLst/>
                <a:latin typeface="Calibri"/>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After the team completes exercise 3, briefly go through the list of tasks covered in the exercise as a form of review.</a:t>
            </a:r>
            <a:endParaRPr lang="en-US" b="0" dirty="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379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a:p>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3619456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1" dirty="0">
                <a:solidFill>
                  <a:srgbClr val="000000"/>
                </a:solidFill>
                <a:effectLst/>
                <a:latin typeface="Times New Roman"/>
                <a:ea typeface="Calibri" panose="020F0502020204030204" pitchFamily="34" charset="0"/>
                <a:cs typeface="Times New Roman"/>
              </a:rPr>
              <a:t>Speaker’s notes:</a:t>
            </a:r>
          </a:p>
          <a:p>
            <a:pPr algn="l"/>
            <a:endParaRPr lang="en-US" sz="1200"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sz="1200" dirty="0">
                <a:solidFill>
                  <a:srgbClr val="000000"/>
                </a:solidFill>
                <a:effectLst/>
                <a:latin typeface="Times New Roman"/>
                <a:ea typeface="Calibri" panose="020F0502020204030204" pitchFamily="34" charset="0"/>
                <a:cs typeface="Times New Roman"/>
              </a:rPr>
              <a:t>Display the slide to signal the start of Exercise 4</a:t>
            </a:r>
            <a:endPar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a:p>
            <a:pPr algn="l"/>
            <a:endPar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a:p>
            <a:pPr algn="l"/>
            <a:r>
              <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lan a Java application migration to Azure Kubernetes Services </a:t>
            </a:r>
            <a:r>
              <a:rPr lang="en-US" b="0" i="0" dirty="0">
                <a:solidFill>
                  <a:srgbClr val="000000"/>
                </a:solidFill>
                <a:effectLst/>
                <a:latin typeface="Times New Roman" panose="02020603050405020304" pitchFamily="18" charset="0"/>
              </a:rPr>
              <a:t>is the first exercise is a series of eight labs spanning three days. </a:t>
            </a:r>
          </a:p>
          <a:p>
            <a:pPr algn="l"/>
            <a:endParaRPr lang="en-US"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dirty="0">
                <a:solidFill>
                  <a:srgbClr val="000000"/>
                </a:solidFill>
                <a:effectLst/>
                <a:latin typeface="Segoe UI" panose="020B0502040204020203" pitchFamily="34" charset="0"/>
                <a:ea typeface="Calibri" panose="020F0502020204030204" pitchFamily="34" charset="0"/>
              </a:rPr>
              <a:t>This first exercise is a mix of conceptual information and explanation the hands-on activities meant to set the stage for migrating apps, monitoring, and security.</a:t>
            </a:r>
            <a:endParaRPr lang="en-US" sz="1800" dirty="0">
              <a:solidFill>
                <a:srgbClr val="000000"/>
              </a:solidFill>
              <a:effectLst/>
              <a:latin typeface="Calibri" panose="020F0502020204030204" pitchFamily="34" charset="0"/>
              <a:ea typeface="Calibri" panose="020F0502020204030204" pitchFamily="34" charset="0"/>
            </a:endParaRPr>
          </a:p>
          <a:p>
            <a:pPr algn="l"/>
            <a:endParaRPr lang="en-US"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rgbClr val="000000"/>
                </a:solidFill>
                <a:effectLst/>
                <a:latin typeface="Segoe UI" panose="020B0502040204020203" pitchFamily="34" charset="0"/>
                <a:ea typeface="Calibri" panose="020F0502020204030204" pitchFamily="34" charset="0"/>
              </a:rPr>
              <a:t>Encouraged students to share ideas, strategies, and what works with their fellow student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Segoe UI" panose="020B0502040204020203" pitchFamily="34" charset="0"/>
              <a:ea typeface="Calibri" panose="020F0502020204030204"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rgbClr val="000000"/>
                </a:solidFill>
                <a:effectLst/>
                <a:latin typeface="Segoe UI" panose="020B0502040204020203" pitchFamily="34" charset="0"/>
                <a:ea typeface="Calibri" panose="020F0502020204030204" pitchFamily="34" charset="0"/>
              </a:rPr>
              <a:t>Reinforce that the labs are mostly self-driven by the students and full of opportunities for </a:t>
            </a:r>
            <a:r>
              <a:rPr lang="en-US" sz="900" i="1" dirty="0">
                <a:solidFill>
                  <a:srgbClr val="000000"/>
                </a:solidFill>
                <a:effectLst/>
                <a:latin typeface="Segoe UI" panose="020B0502040204020203" pitchFamily="34" charset="0"/>
                <a:ea typeface="Calibri" panose="020F0502020204030204" pitchFamily="34" charset="0"/>
              </a:rPr>
              <a:t>students to help students</a:t>
            </a:r>
            <a:r>
              <a:rPr lang="en-US" sz="900" dirty="0">
                <a:solidFill>
                  <a:srgbClr val="000000"/>
                </a:solidFill>
                <a:effectLst/>
                <a:latin typeface="Segoe UI" panose="020B0502040204020203" pitchFamily="34" charset="0"/>
                <a:ea typeface="Calibri" panose="020F0502020204030204" pitchFamily="34" charset="0"/>
              </a:rPr>
              <a:t>. The team lead and coach’s role is to guide the students through the labs and assist them through setback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Segoe UI" panose="020B0502040204020203" pitchFamily="34" charset="0"/>
              <a:ea typeface="Calibri" panose="020F0502020204030204" pitchFamily="34" charset="0"/>
            </a:endParaRPr>
          </a:p>
          <a:p>
            <a:pPr algn="l"/>
            <a:r>
              <a:rPr lang="en-US" sz="900" dirty="0">
                <a:solidFill>
                  <a:srgbClr val="000000"/>
                </a:solidFill>
                <a:effectLst/>
                <a:latin typeface="Segoe UI" panose="020B0502040204020203" pitchFamily="34" charset="0"/>
                <a:ea typeface="Calibri" panose="020F0502020204030204" pitchFamily="34" charset="0"/>
              </a:rPr>
              <a:t>Perhaps review the </a:t>
            </a:r>
            <a:r>
              <a:rPr lang="en-US" sz="2000" b="1" i="0" dirty="0">
                <a:solidFill>
                  <a:srgbClr val="204262"/>
                </a:solidFill>
                <a:effectLst/>
                <a:latin typeface="Times New Roman" panose="02020603050405020304" pitchFamily="18" charset="0"/>
              </a:rPr>
              <a:t>Prerequisites</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Basic Git commands, including cloning, committing files, and pushing changes to GitHub, </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Developing scalable solutions through all phases of software development, </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Java and Spring Boot development (recommended), </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Azure cloud concepts, services, and the Azure portal, </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Basic understanding of application containerization and Kubernetes, </a:t>
            </a:r>
          </a:p>
          <a:p>
            <a:pPr marL="285750" indent="-285750"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Familiarity with Azure and other tools, including installation: Apache Maven (recommended) </a:t>
            </a:r>
          </a:p>
          <a:p>
            <a:pPr marL="342900" indent="-342900" algn="l">
              <a:buFont typeface="Arial" panose="020B0604020202020204" pitchFamily="34" charset="0"/>
              <a:buChar char="•"/>
            </a:pPr>
            <a:endParaRPr lang="en-US" sz="2000"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4996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endParaRPr lang="en-US" b="0" i="0" dirty="0">
              <a:solidFill>
                <a:srgbClr val="000000"/>
              </a:solidFill>
              <a:effectLst/>
              <a:latin typeface="Times New Roman" panose="02020603050405020304" pitchFamily="18" charset="0"/>
            </a:endParaRPr>
          </a:p>
          <a:p>
            <a:pPr algn="l"/>
            <a:r>
              <a:rPr lang="en-US" b="1" i="0" dirty="0">
                <a:solidFill>
                  <a:srgbClr val="000000"/>
                </a:solidFill>
                <a:effectLst/>
                <a:latin typeface="Times New Roman" panose="02020603050405020304" pitchFamily="18" charset="0"/>
              </a:rPr>
              <a:t>SAY:</a:t>
            </a:r>
          </a:p>
          <a:p>
            <a:pPr algn="l"/>
            <a:endParaRPr lang="en-US" b="0" i="0" dirty="0">
              <a:solidFill>
                <a:srgbClr val="000000"/>
              </a:solidFill>
              <a:effectLst/>
              <a:latin typeface="Times New Roman" panose="02020603050405020304" pitchFamily="18"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a:p>
            <a:pPr marL="171450" indent="-171450" algn="l">
              <a:buFont typeface="Arial" panose="020B0604020202020204" pitchFamily="34" charset="0"/>
              <a:buChar char="•"/>
            </a:pPr>
            <a:endParaRPr lang="en-US" b="0" i="0" dirty="0">
              <a:solidFill>
                <a:srgbClr val="1F2328"/>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F2328"/>
                </a:solidFill>
                <a:effectLst/>
                <a:latin typeface="-apple-system"/>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form students that the instructions for completing the exercises are in the GitHub link TB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Proceed with the exercise.</a:t>
            </a:r>
          </a:p>
          <a:p>
            <a:pPr marL="0" indent="0" algn="l">
              <a:buFont typeface="Arial" panose="020B0604020202020204" pitchFamily="34" charset="0"/>
              <a:buNone/>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is exercise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exercise,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4400" b="1" i="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exercise, we will stop the App Service for a fixed amount of time, seeing how it impacts a running load tes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a:p>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28</a:t>
            </a:fld>
            <a:endParaRPr lang="en-US"/>
          </a:p>
        </p:txBody>
      </p:sp>
    </p:spTree>
    <p:extLst>
      <p:ext uri="{BB962C8B-B14F-4D97-AF65-F5344CB8AC3E}">
        <p14:creationId xmlns:p14="http://schemas.microsoft.com/office/powerpoint/2010/main" val="4242807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effectLst/>
                <a:latin typeface="Calibri"/>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After the team completes exercise 4, briefly go through the list of tasks covered in the exercise as a form of review.</a:t>
            </a:r>
            <a:endParaRPr lang="en-US" b="0" dirty="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4659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erformance testing - Microsoft Azure Well-Architected Framework | Microsoft Learn</a:t>
            </a:r>
            <a:endParaRPr lang="en-US" b="1" dirty="0"/>
          </a:p>
          <a:p>
            <a:endParaRPr lang="en-US" b="1" dirty="0"/>
          </a:p>
          <a:p>
            <a:r>
              <a:rPr lang="en-US" b="1" dirty="0"/>
              <a:t>Speaker’s Notes:</a:t>
            </a:r>
          </a:p>
          <a:p>
            <a:endParaRPr lang="en-US" b="1" dirty="0"/>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Performance testing helps to maintain systems properly and fix defects before problems reach system users. </a:t>
            </a:r>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It helps maintain the efficiency, responsiveness, scalability, and speed of applications when compared with business requirements. </a:t>
            </a:r>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When done effectively, performance testing should give you the diagnostic information necessary to eliminate bottlenecks, which lead to poor performance. </a:t>
            </a:r>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A bottleneck occurs when data flow is either interrupted or stops due to insufficient capacity to handle the workload.</a:t>
            </a:r>
          </a:p>
          <a:p>
            <a:pPr algn="l"/>
            <a:endParaRPr lang="en-US" b="0" i="0" dirty="0">
              <a:solidFill>
                <a:srgbClr val="161616"/>
              </a:solidFill>
              <a:effectLst/>
              <a:latin typeface="Segoe UI" panose="020B0502040204020203" pitchFamily="34" charset="0"/>
            </a:endParaRPr>
          </a:p>
          <a:p>
            <a:pPr algn="l"/>
            <a:endParaRPr lang="en-US" b="0" i="0" dirty="0">
              <a:solidFill>
                <a:srgbClr val="161616"/>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a:t>
            </a:fld>
            <a:endParaRPr lang="en-US"/>
          </a:p>
        </p:txBody>
      </p:sp>
    </p:spTree>
    <p:extLst>
      <p:ext uri="{BB962C8B-B14F-4D97-AF65-F5344CB8AC3E}">
        <p14:creationId xmlns:p14="http://schemas.microsoft.com/office/powerpoint/2010/main" val="37067606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a:p>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0</a:t>
            </a:fld>
            <a:endParaRPr lang="en-US"/>
          </a:p>
        </p:txBody>
      </p:sp>
    </p:spTree>
    <p:extLst>
      <p:ext uri="{BB962C8B-B14F-4D97-AF65-F5344CB8AC3E}">
        <p14:creationId xmlns:p14="http://schemas.microsoft.com/office/powerpoint/2010/main" val="34631402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1" dirty="0">
                <a:solidFill>
                  <a:srgbClr val="000000"/>
                </a:solidFill>
                <a:effectLst/>
                <a:latin typeface="Times New Roman"/>
                <a:ea typeface="Calibri" panose="020F0502020204030204" pitchFamily="34" charset="0"/>
                <a:cs typeface="Times New Roman"/>
              </a:rPr>
              <a:t>Speaker’s notes:</a:t>
            </a:r>
          </a:p>
          <a:p>
            <a:pPr algn="l"/>
            <a:endParaRPr lang="en-US" sz="1200"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sz="1200" dirty="0">
                <a:solidFill>
                  <a:srgbClr val="000000"/>
                </a:solidFill>
                <a:effectLst/>
                <a:latin typeface="Times New Roman"/>
                <a:ea typeface="Calibri" panose="020F0502020204030204" pitchFamily="34" charset="0"/>
                <a:cs typeface="Times New Roman"/>
              </a:rPr>
              <a:t>Display the slide to signal the start of Exercise 4.</a:t>
            </a: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14472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 application and setup deployments and pipelines from GitHub into your Azure App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you pipeline is setup, you’ll look at various configuration options including branching and code scanning in GitHub. Then you’ll look at app monitoring within Azure Application Insigh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ask, you'll add security to your application development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branching in GitHub</a:t>
            </a:r>
          </a:p>
          <a:p>
            <a:pPr marL="171450" indent="-171450" algn="l">
              <a:buFont typeface="Arial" panose="020B0604020202020204" pitchFamily="34" charset="0"/>
              <a:buChar char="•"/>
            </a:pPr>
            <a:r>
              <a:rPr lang="en-US" b="0" i="0" dirty="0">
                <a:solidFill>
                  <a:srgbClr val="1F2328"/>
                </a:solidFill>
                <a:effectLst/>
                <a:latin typeface="-apple-system"/>
              </a:rPr>
              <a:t>Setup protection on a GitHub branch, for instance your main branch that deploys your code to your web application</a:t>
            </a:r>
          </a:p>
          <a:p>
            <a:pPr marL="171450" indent="-171450" algn="l">
              <a:buFont typeface="Arial" panose="020B0604020202020204" pitchFamily="34" charset="0"/>
              <a:buChar char="•"/>
            </a:pPr>
            <a:r>
              <a:rPr lang="en-US" b="0" i="0" dirty="0">
                <a:solidFill>
                  <a:srgbClr val="1F2328"/>
                </a:solidFill>
                <a:effectLst/>
                <a:latin typeface="-apple-system"/>
              </a:rPr>
              <a:t>Deploy GitHub security policies and cod security and vulnerability scanning solutions</a:t>
            </a:r>
          </a:p>
          <a:p>
            <a:pPr marL="171450" indent="-171450" algn="l">
              <a:buFont typeface="Arial" panose="020B0604020202020204" pitchFamily="34" charset="0"/>
              <a:buChar char="•"/>
            </a:pPr>
            <a:r>
              <a:rPr lang="en-US" b="0" i="0" dirty="0">
                <a:solidFill>
                  <a:srgbClr val="1F2328"/>
                </a:solidFill>
                <a:effectLst/>
                <a:latin typeface="-apple-system"/>
              </a:rPr>
              <a:t>Monitor your app with Application insights as well as perform availability monitoring of your application with App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e Tasks will focus on securing and monitoring you application deployments and GitHub.</a:t>
            </a:r>
          </a:p>
          <a:p>
            <a:endParaRPr lang="en-US" b="0" i="0" dirty="0">
              <a:effectLst/>
              <a:latin typeface="Segoe UI"/>
              <a:cs typeface="Segoe UI"/>
            </a:endParaRPr>
          </a:p>
          <a:p>
            <a:r>
              <a:rPr lang="en-US" b="0" i="0" dirty="0">
                <a:effectLst/>
                <a:latin typeface="Segoe UI"/>
                <a:cs typeface="Segoe UI"/>
              </a:rPr>
              <a:t>Application code can be deployed from GitHub to Dev, Test, and/or Production within an Azure App Service Plan. When thinking about Security, you have both GitHub security to consider as well as the security of your applications.</a:t>
            </a:r>
          </a:p>
          <a:p>
            <a:endParaRPr lang="en-US" b="0" i="0" dirty="0">
              <a:effectLst/>
              <a:latin typeface="Segoe UI"/>
              <a:cs typeface="Segoe UI"/>
            </a:endParaRPr>
          </a:p>
          <a:p>
            <a:r>
              <a:rPr lang="en-US" b="0" i="0" dirty="0">
                <a:effectLst/>
                <a:latin typeface="Segoe UI"/>
                <a:cs typeface="Segoe UI"/>
              </a:rPr>
              <a:t>We’ll start this exercise by looking at security measure you can take in GitHub and then look at how you can monitor you application using a Log Analytics Workspace and Application Insights.</a:t>
            </a:r>
            <a:endParaRPr lang="en-US" dirty="0"/>
          </a:p>
          <a:p>
            <a:endParaRPr lang="en-US" dirty="0">
              <a:ea typeface="等线"/>
              <a:cs typeface="Calibri Light"/>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Branch policies are a feature in GitHub that you can leverage to help protect code from going straight from the developers machine to production.  You can set this up on branches matching specific patterns or, in the case here, just set them against a single branch by setting </a:t>
            </a:r>
            <a:r>
              <a:rPr lang="en-US" b="0" i="0" dirty="0" err="1">
                <a:solidFill>
                  <a:srgbClr val="000000"/>
                </a:solidFill>
                <a:effectLst/>
                <a:latin typeface="Times New Roman" panose="02020603050405020304" pitchFamily="18" charset="0"/>
              </a:rPr>
              <a:t>tha</a:t>
            </a:r>
            <a:r>
              <a:rPr lang="en-US" b="0" i="0" dirty="0">
                <a:solidFill>
                  <a:srgbClr val="000000"/>
                </a:solidFill>
                <a:effectLst/>
                <a:latin typeface="Times New Roman" panose="02020603050405020304" pitchFamily="18" charset="0"/>
              </a:rPr>
              <a:t> pattern to the branch nam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With branch protection on, you can require reviews from code owners, approvals, and other requirements that must be met before the code is pushed to production. This puts that extra layer or protection in place on the GitHub repo to force the use of branching and enforce reviews and sign-off before code from a branch is committed to the production c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000000"/>
              </a:solidFill>
              <a:effectLst/>
              <a:latin typeface="Segoe UI"/>
              <a:cs typeface="Segoe U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algn="l"/>
            <a:r>
              <a:rPr lang="en-US" b="0" i="0" dirty="0">
                <a:solidFill>
                  <a:srgbClr val="000000"/>
                </a:solidFill>
                <a:effectLst/>
                <a:latin typeface="Times New Roman" panose="02020603050405020304" pitchFamily="18" charset="0"/>
              </a:rPr>
              <a:t>Security policies don’t provide any security to the co pre-se, but do allow you to define what the security policy is for the particular repo. That way, if there is a security issue, developers know how to handle it and what the process is. While it shows up under Security </a:t>
            </a:r>
            <a:r>
              <a:rPr lang="en-US" b="0" i="0" dirty="0">
                <a:solidFill>
                  <a:srgbClr val="000000"/>
                </a:solidFill>
                <a:effectLst/>
                <a:latin typeface="Times New Roman" panose="02020603050405020304" pitchFamily="18" charset="0"/>
                <a:sym typeface="Wingdings" pitchFamily="2" charset="2"/>
              </a:rPr>
              <a:t> Policy in GitHub, it’s simple a SECURITY.md file that’s added to the code repo. The security policy can contain reporting guidelines, notification processes, and links to other security resources related to the repository.</a:t>
            </a:r>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you have branch production in place to prevent code from being </a:t>
            </a:r>
            <a:r>
              <a:rPr lang="en-US" b="0" i="0" dirty="0" err="1">
                <a:solidFill>
                  <a:srgbClr val="000000"/>
                </a:solidFill>
                <a:effectLst/>
                <a:latin typeface="Times New Roman" panose="02020603050405020304" pitchFamily="18" charset="0"/>
              </a:rPr>
              <a:t>being</a:t>
            </a:r>
            <a:r>
              <a:rPr lang="en-US" b="0" i="0" dirty="0">
                <a:solidFill>
                  <a:srgbClr val="000000"/>
                </a:solidFill>
                <a:effectLst/>
                <a:latin typeface="Times New Roman" panose="02020603050405020304" pitchFamily="18" charset="0"/>
              </a:rPr>
              <a:t> published directly to production as well as a security policy defined for your users, we’ll take a look at setting up code security scanning and alerting. The two features that we’ll look at specifically ar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and Code QL.</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watch for any vulnerabilities related to code dependencies. Developers don’t always have the time, or even the ability to actively keep up with any vulnerabilities related to dependencies and 3</a:t>
            </a:r>
            <a:r>
              <a:rPr lang="en-US" b="0" i="0" baseline="30000" dirty="0">
                <a:solidFill>
                  <a:srgbClr val="000000"/>
                </a:solidFill>
                <a:effectLst/>
                <a:latin typeface="Times New Roman" panose="02020603050405020304" pitchFamily="18" charset="0"/>
              </a:rPr>
              <a:t>rd</a:t>
            </a:r>
            <a:r>
              <a:rPr lang="en-US" b="0" i="0" dirty="0">
                <a:solidFill>
                  <a:srgbClr val="000000"/>
                </a:solidFill>
                <a:effectLst/>
                <a:latin typeface="Times New Roman" panose="02020603050405020304" pitchFamily="18" charset="0"/>
              </a:rPr>
              <a:t> party libraries and packages being used for their development project. By enabling Dependable alerts and rules on the GitHub repo, GitHub will watch for and alert when a dependency has a vulnerability that could affect the security of your own code. You can also configure it to not only just alert on the issues, but to also generate pull requests to update the dependencies to resolve the vulnerability.</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whil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help alert and manage vulnerabilities related to </a:t>
            </a:r>
            <a:r>
              <a:rPr lang="en-US" b="0" i="0" dirty="0" err="1">
                <a:solidFill>
                  <a:srgbClr val="000000"/>
                </a:solidFill>
                <a:effectLst/>
                <a:latin typeface="Times New Roman" panose="02020603050405020304" pitchFamily="18" charset="0"/>
              </a:rPr>
              <a:t>dependancies</a:t>
            </a:r>
            <a:r>
              <a:rPr lang="en-US" b="0" i="0" dirty="0">
                <a:solidFill>
                  <a:srgbClr val="000000"/>
                </a:solidFill>
                <a:effectLst/>
                <a:latin typeface="Times New Roman" panose="02020603050405020304" pitchFamily="18" charset="0"/>
              </a:rPr>
              <a:t>,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used to analyze your own code for vulnerabilities and errors that could effect your code security.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an open-source rep that can be used with the Advanced Security in GitHub. There are standard code scanning configurations you can use, but you can also right your own code scanning.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simply leverages a GitHub action to do things like automatically scan your code anytime there is an update committed to your repo or regular scans based on a schedule. There are some restrictions around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f you are using a free account GitHub, you can only use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on public repos. If you want to use it on a private repo, you do need to be using a paid GitHub account.</a:t>
            </a:r>
          </a:p>
          <a:p>
            <a:pPr algn="l"/>
            <a:endParaRPr lang="en-US" b="0" i="0" dirty="0">
              <a:solidFill>
                <a:srgbClr val="000000"/>
              </a:solidFill>
              <a:effectLst/>
              <a:latin typeface="Times New Roman" panose="02020603050405020304" pitchFamily="18" charset="0"/>
            </a:endParaRPr>
          </a:p>
          <a:p>
            <a:pPr algn="l"/>
            <a:r>
              <a:rPr lang="en-US" b="1" i="0" dirty="0">
                <a:solidFill>
                  <a:srgbClr val="000000"/>
                </a:solidFill>
                <a:effectLst/>
                <a:latin typeface="Times New Roman" panose="02020603050405020304" pitchFamily="18" charset="0"/>
              </a:rPr>
              <a:t>ADDITIONAL NO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Times New Roman" panose="02020603050405020304" pitchFamily="18" charset="0"/>
              </a:rPr>
              <a:t>Daniel Stocker question: </a:t>
            </a:r>
            <a:r>
              <a:rPr lang="en-US" sz="1800" dirty="0">
                <a:effectLst/>
                <a:latin typeface="Segoe UI" panose="020B0502040204020203" pitchFamily="34" charset="0"/>
              </a:rPr>
              <a:t>Some advanced security features are only available inside a GitHub organization. Will participants be able to host their repo in an organization to enable these when working? If they host them in their private GitHub some options will be disabled</a:t>
            </a:r>
            <a:endParaRPr lang="en-US" sz="1800" dirty="0">
              <a:effectLst/>
              <a:latin typeface="Arial" panose="020B0604020202020204" pitchFamily="34" charset="0"/>
            </a:endParaRPr>
          </a:p>
          <a:p>
            <a:pPr algn="l"/>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Times New Roman" panose="02020603050405020304" pitchFamily="18" charset="0"/>
              </a:rPr>
              <a:t>Kevin Feasel answer: </a:t>
            </a:r>
            <a:r>
              <a:rPr lang="en-US" sz="1800" dirty="0">
                <a:effectLst/>
                <a:latin typeface="Aptos" panose="020B0004020202020204" pitchFamily="34" charset="0"/>
                <a:ea typeface="Times New Roman" panose="02020603050405020304" pitchFamily="18" charset="0"/>
                <a:cs typeface="Aptos" panose="020B0004020202020204" pitchFamily="34" charset="0"/>
              </a:rPr>
              <a:t>We don't have an organization they can host in, so unless learners have their own orgs (doubtful), they will use their own private accounts and be limited in what they can see.</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Times New Roman"/>
              <a:cs typeface="Times New Roman"/>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1" i="0" dirty="0">
                <a:solidFill>
                  <a:srgbClr val="323232"/>
                </a:solidFill>
                <a:effectLst/>
                <a:latin typeface="adobe-clean"/>
              </a:rPr>
              <a:t>SAY:</a:t>
            </a:r>
          </a:p>
          <a:p>
            <a:pPr algn="l"/>
            <a:endParaRPr lang="en-US" b="0" i="0" dirty="0">
              <a:solidFill>
                <a:srgbClr val="323232"/>
              </a:solidFill>
              <a:effectLst/>
              <a:latin typeface="adobe-clean"/>
            </a:endParaRPr>
          </a:p>
          <a:p>
            <a:pPr algn="l"/>
            <a:r>
              <a:rPr lang="en-US" b="0" i="0" dirty="0">
                <a:solidFill>
                  <a:srgbClr val="323232"/>
                </a:solidFill>
                <a:effectLst/>
                <a:latin typeface="adobe-clean"/>
              </a:rPr>
              <a:t>Now that you’ve setup Security and monitoring and protecting your code, we’ll take a quick look at what you can do to monitor the application once it’s been deployed to App Servic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is the Azure Service used for monitoring applications in App Services. There used to be two ways to deploy App Insights, either with or without a Log Analytics Workspace. Microsoft has announced the end of availability for non-Log Analytics based monitoring, so any app insights instances still not converted to a Log Analytics workspace should be converted over.</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gives you the ability to:</a:t>
            </a:r>
          </a:p>
          <a:p>
            <a:pPr algn="l"/>
            <a:r>
              <a:rPr lang="en-US" b="0" i="0" dirty="0">
                <a:solidFill>
                  <a:srgbClr val="323232"/>
                </a:solidFill>
                <a:effectLst/>
                <a:latin typeface="adobe-clean"/>
              </a:rPr>
              <a:t>- Have a default app insights dashboard to monitor various data points about your web application</a:t>
            </a:r>
          </a:p>
          <a:p>
            <a:pPr algn="l"/>
            <a:r>
              <a:rPr lang="en-US" b="0" i="0" dirty="0">
                <a:solidFill>
                  <a:srgbClr val="323232"/>
                </a:solidFill>
                <a:effectLst/>
                <a:latin typeface="adobe-clean"/>
              </a:rPr>
              <a:t>- Customize and create new dashboards so you can tailor the App Insights dashboard to your specific needs.</a:t>
            </a:r>
          </a:p>
          <a:p>
            <a:pPr algn="l"/>
            <a:r>
              <a:rPr lang="en-US" b="0" i="0" dirty="0">
                <a:solidFill>
                  <a:srgbClr val="323232"/>
                </a:solidFill>
                <a:effectLst/>
                <a:latin typeface="adobe-clean"/>
              </a:rPr>
              <a:t>- Setup availability alerting to help you know, before your customers, if there is an issue with your application that causes it to go off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000000"/>
              </a:solidFill>
              <a:effectLst/>
              <a:latin typeface="Segoe UI"/>
              <a:cs typeface="Segoe U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effectLst/>
                <a:latin typeface="Calibri"/>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After the team completes exercise 5, briefly go through the list of tasks covered in the exercise as a form of review.</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61585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p:txBody>
      </p:sp>
      <p:sp>
        <p:nvSpPr>
          <p:cNvPr id="4" name="Slide Number Placeholder 3"/>
          <p:cNvSpPr>
            <a:spLocks noGrp="1"/>
          </p:cNvSpPr>
          <p:nvPr>
            <p:ph type="sldNum" sz="quarter" idx="5"/>
          </p:nvPr>
        </p:nvSpPr>
        <p:spPr/>
        <p:txBody>
          <a:bodyPr/>
          <a:lstStyle/>
          <a:p>
            <a:fld id="{8FBFA05F-1A8C-432D-BC54-796887A51DAB}" type="slidenum">
              <a:rPr lang="en-US" smtClean="0"/>
              <a:t>39</a:t>
            </a:fld>
            <a:endParaRPr lang="en-US"/>
          </a:p>
        </p:txBody>
      </p:sp>
    </p:spTree>
    <p:extLst>
      <p:ext uri="{BB962C8B-B14F-4D97-AF65-F5344CB8AC3E}">
        <p14:creationId xmlns:p14="http://schemas.microsoft.com/office/powerpoint/2010/main" val="753183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erformance testing - Microsoft Azure Well-Architected Framework | Microsoft Learn</a:t>
            </a:r>
            <a:endParaRPr lang="en-US" b="1" dirty="0"/>
          </a:p>
          <a:p>
            <a:endParaRPr lang="en-US" b="1" dirty="0"/>
          </a:p>
          <a:p>
            <a:r>
              <a:rPr lang="en-US" b="1" dirty="0"/>
              <a:t>Speaker’s Notes:</a:t>
            </a:r>
          </a:p>
          <a:p>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61616"/>
                </a:solidFill>
                <a:effectLst/>
                <a:latin typeface="Segoe UI" panose="020B0502040204020203" pitchFamily="34" charset="0"/>
              </a:rPr>
              <a:t>To avoid experiencing poor performance, commit time and resources to testing system performance. Two subsets of performance testing—load testing and stress testing—can determine the upper (close to capacity) limit and maximum (point of failure) limit, respectively, of the application's capacity. By performing these tests, you can determine the necessary infrastructure to support the anticipated workloads.</a:t>
            </a:r>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A best practice is to plan for a load buffer to accommodate random spikes without overloading the infrastructure.  </a:t>
            </a:r>
            <a:r>
              <a:rPr lang="en-US" b="1" i="0" dirty="0">
                <a:solidFill>
                  <a:srgbClr val="161616"/>
                </a:solidFill>
                <a:effectLst/>
                <a:latin typeface="Segoe UI" panose="020B0502040204020203" pitchFamily="34" charset="0"/>
              </a:rPr>
              <a:t>For example, </a:t>
            </a:r>
            <a:r>
              <a:rPr lang="en-US" b="0" i="0" dirty="0">
                <a:solidFill>
                  <a:srgbClr val="161616"/>
                </a:solidFill>
                <a:effectLst/>
                <a:latin typeface="Segoe UI" panose="020B0502040204020203" pitchFamily="34" charset="0"/>
              </a:rPr>
              <a:t>if a normal system load is 100,000 requests per second, the infrastructure should support 100,000 requests at 80% of total capacity (that is, 125,000 requests per second). If you anticipate that the application will continue to sustain 100,000 requests per second, and the current Stock Keeping Unit (SKU) introduces latency at 65,000 requests per second, consider upgrading your product to the next higher SKU. If there's a secondary region, you must ensure that it also supports the higher SKU.</a:t>
            </a:r>
          </a:p>
          <a:p>
            <a:pPr marL="171450" indent="-171450" algn="l">
              <a:buFont typeface="Arial" panose="020B0604020202020204" pitchFamily="34" charset="0"/>
              <a:buChar char="•"/>
            </a:pPr>
            <a:r>
              <a:rPr lang="en-US" b="0" i="0" dirty="0">
                <a:solidFill>
                  <a:srgbClr val="161616"/>
                </a:solidFill>
                <a:effectLst/>
                <a:latin typeface="Segoe UI" panose="020B0502040204020203" pitchFamily="34" charset="0"/>
              </a:rPr>
              <a:t>Depending on the scale of your performance test, you must plan for and maintain a testing infrastructure. You can use a cloud-based tool, such as </a:t>
            </a:r>
            <a:r>
              <a:rPr lang="en-US" b="0" i="0" u="none" strike="noStrike" dirty="0">
                <a:solidFill>
                  <a:srgbClr val="161616"/>
                </a:solidFill>
                <a:effectLst/>
                <a:latin typeface="Segoe UI" panose="020B0502040204020203" pitchFamily="34" charset="0"/>
                <a:hlinkClick r:id="rId4"/>
              </a:rPr>
              <a:t>Azure Load Testing</a:t>
            </a:r>
            <a:r>
              <a:rPr lang="en-US" b="0" i="0" dirty="0">
                <a:solidFill>
                  <a:srgbClr val="161616"/>
                </a:solidFill>
                <a:effectLst/>
                <a:latin typeface="Segoe UI" panose="020B0502040204020203" pitchFamily="34" charset="0"/>
              </a:rPr>
              <a:t>, to abstract the infrastructure needed to run your performance tests.</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4</a:t>
            </a:fld>
            <a:endParaRPr lang="en-US"/>
          </a:p>
        </p:txBody>
      </p:sp>
    </p:spTree>
    <p:extLst>
      <p:ext uri="{BB962C8B-B14F-4D97-AF65-F5344CB8AC3E}">
        <p14:creationId xmlns:p14="http://schemas.microsoft.com/office/powerpoint/2010/main" val="13606880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 (Reflection and discussion continuation)</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a:p>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40</a:t>
            </a:fld>
            <a:endParaRPr lang="en-US"/>
          </a:p>
        </p:txBody>
      </p:sp>
    </p:spTree>
    <p:extLst>
      <p:ext uri="{BB962C8B-B14F-4D97-AF65-F5344CB8AC3E}">
        <p14:creationId xmlns:p14="http://schemas.microsoft.com/office/powerpoint/2010/main" val="2566211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erformance testing - Microsoft Azure Well-Architected Framework | Microsoft Learn</a:t>
            </a:r>
            <a:endParaRPr lang="en-US" b="1" dirty="0"/>
          </a:p>
          <a:p>
            <a:endParaRPr lang="en-US" b="1" dirty="0"/>
          </a:p>
          <a:p>
            <a:r>
              <a:rPr lang="en-US" b="1" dirty="0"/>
              <a:t>Speaker’s Notes:</a:t>
            </a:r>
          </a:p>
          <a:p>
            <a:endParaRPr lang="en-US" b="1" dirty="0"/>
          </a:p>
          <a:p>
            <a:pPr marL="171450" indent="-171450">
              <a:buFont typeface="Arial" panose="020B0604020202020204" pitchFamily="34" charset="0"/>
              <a:buChar char="•"/>
            </a:pPr>
            <a:r>
              <a:rPr lang="en-US" b="0" dirty="0"/>
              <a:t>Highlight various types of performance testing</a:t>
            </a:r>
          </a:p>
          <a:p>
            <a:endParaRPr lang="en-US" b="1" dirty="0"/>
          </a:p>
          <a:p>
            <a:pPr algn="l"/>
            <a:r>
              <a:rPr lang="en-US" b="1" i="0" dirty="0">
                <a:solidFill>
                  <a:srgbClr val="161616"/>
                </a:solidFill>
                <a:effectLst/>
                <a:latin typeface="Segoe UI" panose="020B0502040204020203" pitchFamily="34" charset="0"/>
              </a:rPr>
              <a:t>Establish baselines</a:t>
            </a:r>
          </a:p>
          <a:p>
            <a:pPr algn="l"/>
            <a:r>
              <a:rPr lang="en-US" b="0" i="0" dirty="0">
                <a:solidFill>
                  <a:srgbClr val="161616"/>
                </a:solidFill>
                <a:effectLst/>
                <a:latin typeface="Segoe UI" panose="020B0502040204020203" pitchFamily="34" charset="0"/>
              </a:rPr>
              <a:t>Baselines help to determine the current efficiency state of your application and its supporting infrastructure. Baselines can provide good insights for improvements and determine if the application is meeting business goals. Baselines can be created for any application regardless of its maturity.</a:t>
            </a:r>
          </a:p>
          <a:p>
            <a:pPr algn="l"/>
            <a:r>
              <a:rPr lang="en-US" b="0" i="0" dirty="0">
                <a:solidFill>
                  <a:srgbClr val="161616"/>
                </a:solidFill>
                <a:effectLst/>
                <a:latin typeface="Segoe UI" panose="020B0502040204020203" pitchFamily="34" charset="0"/>
              </a:rPr>
              <a:t>First, establish performance baselines for your application. Then, establish a regular cadence for running the tests. Run the test as part of a scheduled event or part of a continuous integration (CI) build pipeline.</a:t>
            </a:r>
          </a:p>
          <a:p>
            <a:pPr algn="l"/>
            <a:r>
              <a:rPr lang="en-US" b="0" i="0" dirty="0">
                <a:solidFill>
                  <a:srgbClr val="161616"/>
                </a:solidFill>
                <a:effectLst/>
                <a:latin typeface="Segoe UI" panose="020B0502040204020203" pitchFamily="34" charset="0"/>
              </a:rPr>
              <a:t>No matter when you establish the baseline, measure performance against that baseline during continued development. When code or infrastructure changes, the effect on performance can be actively measured.</a:t>
            </a:r>
          </a:p>
          <a:p>
            <a:pPr algn="l"/>
            <a:endParaRPr lang="en-US" b="1" i="0" dirty="0">
              <a:solidFill>
                <a:srgbClr val="161616"/>
              </a:solidFill>
              <a:effectLst/>
              <a:latin typeface="Segoe UI" panose="020B0502040204020203" pitchFamily="34" charset="0"/>
            </a:endParaRPr>
          </a:p>
          <a:p>
            <a:pPr algn="l"/>
            <a:r>
              <a:rPr lang="en-US" b="1" i="0" dirty="0">
                <a:solidFill>
                  <a:srgbClr val="161616"/>
                </a:solidFill>
                <a:effectLst/>
                <a:latin typeface="Segoe UI" panose="020B0502040204020203" pitchFamily="34" charset="0"/>
              </a:rPr>
              <a:t>Load testing</a:t>
            </a:r>
          </a:p>
          <a:p>
            <a:pPr algn="l"/>
            <a:r>
              <a:rPr lang="en-US" b="0" i="0" dirty="0">
                <a:solidFill>
                  <a:srgbClr val="161616"/>
                </a:solidFill>
                <a:effectLst/>
                <a:latin typeface="Segoe UI" panose="020B0502040204020203" pitchFamily="34" charset="0"/>
              </a:rPr>
              <a:t>Load testing measures system performance as the workload increases. It identifies where and when your application breaks so you can fix the issue before shipping to production. It does so by testing system behavior under typical and heavy loads.</a:t>
            </a:r>
          </a:p>
          <a:p>
            <a:pPr algn="l"/>
            <a:r>
              <a:rPr lang="en-US" b="0" i="0" dirty="0">
                <a:solidFill>
                  <a:srgbClr val="161616"/>
                </a:solidFill>
                <a:effectLst/>
                <a:latin typeface="Segoe UI" panose="020B0502040204020203" pitchFamily="34" charset="0"/>
              </a:rPr>
              <a:t>Load testing takes places in stages of load. These stages are usually measured by virtual users (VUs) or simulated requests, and the stages happen over given intervals. Load testing provides insights into how and when your application needs to scale to continue meeting your SLA to your customers, both internal and external. Load testing can also be useful for determining latency across distributed applications and microservices.</a:t>
            </a:r>
          </a:p>
          <a:p>
            <a:pPr algn="l"/>
            <a:r>
              <a:rPr lang="en-US" b="0" i="0" dirty="0">
                <a:solidFill>
                  <a:srgbClr val="161616"/>
                </a:solidFill>
                <a:effectLst/>
                <a:latin typeface="Segoe UI" panose="020B0502040204020203" pitchFamily="34" charset="0"/>
              </a:rPr>
              <a:t>Consider the following key points for load testing:</a:t>
            </a:r>
          </a:p>
          <a:p>
            <a:pPr algn="l">
              <a:buFont typeface="Arial" panose="020B0604020202020204" pitchFamily="34" charset="0"/>
              <a:buChar char="•"/>
            </a:pPr>
            <a:r>
              <a:rPr lang="en-US" b="1" i="0" dirty="0">
                <a:solidFill>
                  <a:srgbClr val="161616"/>
                </a:solidFill>
                <a:effectLst/>
                <a:latin typeface="Segoe UI" panose="020B0502040204020203" pitchFamily="34" charset="0"/>
              </a:rPr>
              <a:t>Know the Azure service limits:</a:t>
            </a:r>
            <a:r>
              <a:rPr lang="en-US" b="0" i="0" dirty="0">
                <a:solidFill>
                  <a:srgbClr val="161616"/>
                </a:solidFill>
                <a:effectLst/>
                <a:latin typeface="Segoe UI" panose="020B0502040204020203" pitchFamily="34" charset="0"/>
              </a:rPr>
              <a:t> Different Azure services have </a:t>
            </a:r>
            <a:r>
              <a:rPr lang="en-US" b="0" i="1" dirty="0">
                <a:solidFill>
                  <a:srgbClr val="161616"/>
                </a:solidFill>
                <a:effectLst/>
                <a:latin typeface="Segoe UI" panose="020B0502040204020203" pitchFamily="34" charset="0"/>
              </a:rPr>
              <a:t>soft</a:t>
            </a:r>
            <a:r>
              <a:rPr lang="en-US" b="0" i="0" dirty="0">
                <a:solidFill>
                  <a:srgbClr val="161616"/>
                </a:solidFill>
                <a:effectLst/>
                <a:latin typeface="Segoe UI" panose="020B0502040204020203" pitchFamily="34" charset="0"/>
              </a:rPr>
              <a:t> and </a:t>
            </a:r>
            <a:r>
              <a:rPr lang="en-US" b="0" i="1" dirty="0">
                <a:solidFill>
                  <a:srgbClr val="161616"/>
                </a:solidFill>
                <a:effectLst/>
                <a:latin typeface="Segoe UI" panose="020B0502040204020203" pitchFamily="34" charset="0"/>
              </a:rPr>
              <a:t>hard</a:t>
            </a:r>
            <a:r>
              <a:rPr lang="en-US" b="0" i="0" dirty="0">
                <a:solidFill>
                  <a:srgbClr val="161616"/>
                </a:solidFill>
                <a:effectLst/>
                <a:latin typeface="Segoe UI" panose="020B0502040204020203" pitchFamily="34" charset="0"/>
              </a:rPr>
              <a:t> limits associated with them. The terms </a:t>
            </a:r>
            <a:r>
              <a:rPr lang="en-US" b="0" i="1" dirty="0">
                <a:solidFill>
                  <a:srgbClr val="161616"/>
                </a:solidFill>
                <a:effectLst/>
                <a:latin typeface="Segoe UI" panose="020B0502040204020203" pitchFamily="34" charset="0"/>
              </a:rPr>
              <a:t>soft limit</a:t>
            </a:r>
            <a:r>
              <a:rPr lang="en-US" b="0" i="0" dirty="0">
                <a:solidFill>
                  <a:srgbClr val="161616"/>
                </a:solidFill>
                <a:effectLst/>
                <a:latin typeface="Segoe UI" panose="020B0502040204020203" pitchFamily="34" charset="0"/>
              </a:rPr>
              <a:t> and </a:t>
            </a:r>
            <a:r>
              <a:rPr lang="en-US" b="0" i="1" dirty="0">
                <a:solidFill>
                  <a:srgbClr val="161616"/>
                </a:solidFill>
                <a:effectLst/>
                <a:latin typeface="Segoe UI" panose="020B0502040204020203" pitchFamily="34" charset="0"/>
              </a:rPr>
              <a:t>hard limit</a:t>
            </a:r>
            <a:r>
              <a:rPr lang="en-US" b="0" i="0" dirty="0">
                <a:solidFill>
                  <a:srgbClr val="161616"/>
                </a:solidFill>
                <a:effectLst/>
                <a:latin typeface="Segoe UI" panose="020B0502040204020203" pitchFamily="34" charset="0"/>
              </a:rPr>
              <a:t> describe the current, adjustable service limit (soft limit) and the maximum limit (hard limit). Understand the limits for the services you consume so that you aren't blocked if you need to exceed them. For a list of the most common Azure limits, see </a:t>
            </a:r>
            <a:r>
              <a:rPr lang="en-US" b="0" i="0" u="none" strike="noStrike" dirty="0">
                <a:solidFill>
                  <a:srgbClr val="161616"/>
                </a:solidFill>
                <a:effectLst/>
                <a:latin typeface="Segoe UI" panose="020B0502040204020203" pitchFamily="34" charset="0"/>
                <a:hlinkClick r:id="rId4"/>
              </a:rPr>
              <a:t>Azure subscription and service limits, quotas, and constraints</a:t>
            </a:r>
            <a:r>
              <a:rPr lang="en-US" b="0" i="0" dirty="0">
                <a:solidFill>
                  <a:srgbClr val="161616"/>
                </a:solidFill>
                <a:effectLst/>
                <a:latin typeface="Segoe UI" panose="020B0502040204020203" pitchFamily="34" charset="0"/>
              </a:rPr>
              <a:t>.</a:t>
            </a:r>
          </a:p>
          <a:p>
            <a:pPr algn="l">
              <a:buFont typeface="Arial" panose="020B0604020202020204" pitchFamily="34" charset="0"/>
              <a:buChar char="•"/>
            </a:pPr>
            <a:r>
              <a:rPr lang="en-US" b="0" i="0" dirty="0">
                <a:solidFill>
                  <a:srgbClr val="161616"/>
                </a:solidFill>
                <a:effectLst/>
                <a:latin typeface="Segoe UI" panose="020B0502040204020203" pitchFamily="34" charset="0"/>
              </a:rPr>
              <a:t> The </a:t>
            </a:r>
            <a:r>
              <a:rPr lang="en-US" b="0" i="0" u="none" strike="noStrike" dirty="0" err="1">
                <a:solidFill>
                  <a:srgbClr val="161616"/>
                </a:solidFill>
                <a:effectLst/>
                <a:latin typeface="Segoe UI" panose="020B0502040204020203" pitchFamily="34" charset="0"/>
                <a:hlinkClick r:id="rId5"/>
              </a:rPr>
              <a:t>ResourceLimits</a:t>
            </a:r>
            <a:r>
              <a:rPr lang="en-US" b="0" i="0" dirty="0">
                <a:solidFill>
                  <a:srgbClr val="161616"/>
                </a:solidFill>
                <a:effectLst/>
                <a:latin typeface="Segoe UI" panose="020B0502040204020203" pitchFamily="34" charset="0"/>
              </a:rPr>
              <a:t> sample shows how to query the limits and quotas for commonly used resources.</a:t>
            </a:r>
          </a:p>
          <a:p>
            <a:pPr algn="l">
              <a:buFont typeface="Arial" panose="020B0604020202020204" pitchFamily="34" charset="0"/>
              <a:buChar char="•"/>
            </a:pPr>
            <a:r>
              <a:rPr lang="en-US" b="1" i="0" dirty="0">
                <a:solidFill>
                  <a:srgbClr val="161616"/>
                </a:solidFill>
                <a:effectLst/>
                <a:latin typeface="Segoe UI" panose="020B0502040204020203" pitchFamily="34" charset="0"/>
              </a:rPr>
              <a:t>Measure typical loads:</a:t>
            </a:r>
            <a:r>
              <a:rPr lang="en-US" b="0" i="0" dirty="0">
                <a:solidFill>
                  <a:srgbClr val="161616"/>
                </a:solidFill>
                <a:effectLst/>
                <a:latin typeface="Segoe UI" panose="020B0502040204020203" pitchFamily="34" charset="0"/>
              </a:rPr>
              <a:t> Knowing the typical and maximum loads on your system helps you understand when something is operating outside of its designed limits. Monitor traffic to understand application behavior.</a:t>
            </a:r>
          </a:p>
          <a:p>
            <a:pPr algn="l">
              <a:buFont typeface="Arial" panose="020B0604020202020204" pitchFamily="34" charset="0"/>
              <a:buChar char="•"/>
            </a:pPr>
            <a:r>
              <a:rPr lang="en-US" b="1" i="0" dirty="0">
                <a:solidFill>
                  <a:srgbClr val="161616"/>
                </a:solidFill>
                <a:effectLst/>
                <a:latin typeface="Segoe UI" panose="020B0502040204020203" pitchFamily="34" charset="0"/>
              </a:rPr>
              <a:t>Understand application behavior under various scales:</a:t>
            </a:r>
            <a:r>
              <a:rPr lang="en-US" b="0" i="0" dirty="0">
                <a:solidFill>
                  <a:srgbClr val="161616"/>
                </a:solidFill>
                <a:effectLst/>
                <a:latin typeface="Segoe UI" panose="020B0502040204020203" pitchFamily="34" charset="0"/>
              </a:rPr>
              <a:t> Load test your application to understand how it performs at various scales. First, test to see how the application performs under a typical load. Then, test to see how it performs under load using different scaling operations. To get more insight into how to evaluate your application as the amount of traffic sent to it increases, see </a:t>
            </a:r>
            <a:r>
              <a:rPr lang="en-US" b="0" i="0" u="none" strike="noStrike" dirty="0" err="1">
                <a:solidFill>
                  <a:srgbClr val="161616"/>
                </a:solidFill>
                <a:effectLst/>
                <a:latin typeface="Segoe UI" panose="020B0502040204020203" pitchFamily="34" charset="0"/>
                <a:hlinkClick r:id="rId6"/>
              </a:rPr>
              <a:t>Autoscale</a:t>
            </a:r>
            <a:r>
              <a:rPr lang="en-US" b="0" i="0" u="none" strike="noStrike" dirty="0">
                <a:solidFill>
                  <a:srgbClr val="161616"/>
                </a:solidFill>
                <a:effectLst/>
                <a:latin typeface="Segoe UI" panose="020B0502040204020203" pitchFamily="34" charset="0"/>
                <a:hlinkClick r:id="rId6"/>
              </a:rPr>
              <a:t> best practices</a:t>
            </a:r>
            <a:r>
              <a:rPr lang="en-US" b="0" i="0" dirty="0">
                <a:solidFill>
                  <a:srgbClr val="161616"/>
                </a:solidFill>
                <a:effectLst/>
                <a:latin typeface="Segoe UI" panose="020B0502040204020203" pitchFamily="34" charset="0"/>
              </a:rPr>
              <a:t>.</a:t>
            </a:r>
          </a:p>
          <a:p>
            <a:pPr algn="l"/>
            <a:endParaRPr lang="en-US" b="1" i="0" dirty="0">
              <a:solidFill>
                <a:srgbClr val="161616"/>
              </a:solidFill>
              <a:effectLst/>
              <a:latin typeface="Segoe UI" panose="020B0502040204020203" pitchFamily="34" charset="0"/>
            </a:endParaRPr>
          </a:p>
          <a:p>
            <a:pPr algn="l"/>
            <a:r>
              <a:rPr lang="en-US" b="1" i="0" dirty="0">
                <a:solidFill>
                  <a:srgbClr val="161616"/>
                </a:solidFill>
                <a:effectLst/>
                <a:latin typeface="Segoe UI" panose="020B0502040204020203" pitchFamily="34" charset="0"/>
              </a:rPr>
              <a:t>Stress testing</a:t>
            </a:r>
          </a:p>
          <a:p>
            <a:pPr algn="l"/>
            <a:r>
              <a:rPr lang="en-US" b="0" i="0" dirty="0">
                <a:solidFill>
                  <a:srgbClr val="161616"/>
                </a:solidFill>
                <a:effectLst/>
                <a:latin typeface="Segoe UI" panose="020B0502040204020203" pitchFamily="34" charset="0"/>
              </a:rPr>
              <a:t>Unlike load testing, which ensures that a system can handle what it's designed to handle, stress testing focuses on overloading the system until it breaks. A stress test determines how stable a system is and its ability to withstand extreme increases in load. For example, it can test the maximum number of requests from another service that a system can handle at a given time before performance is compromised and fails. Find this maximum to understand what kind of load the current environment can adequately support.</a:t>
            </a:r>
          </a:p>
          <a:p>
            <a:pPr algn="l"/>
            <a:r>
              <a:rPr lang="en-US" b="0" i="0" dirty="0">
                <a:solidFill>
                  <a:srgbClr val="161616"/>
                </a:solidFill>
                <a:effectLst/>
                <a:latin typeface="Segoe UI" panose="020B0502040204020203" pitchFamily="34" charset="0"/>
              </a:rPr>
              <a:t>Determine the maximum demand you want to place on memory, CPU, and disk IOPS. After a stress test has been performed, you know the maximum supported load and an operational margin. It's best to choose an operational threshold so that scaling can be performed before the threshold has been reached.</a:t>
            </a:r>
          </a:p>
          <a:p>
            <a:pPr algn="l"/>
            <a:r>
              <a:rPr lang="en-US" b="0" i="0" dirty="0">
                <a:solidFill>
                  <a:srgbClr val="161616"/>
                </a:solidFill>
                <a:effectLst/>
                <a:latin typeface="Segoe UI" panose="020B0502040204020203" pitchFamily="34" charset="0"/>
              </a:rPr>
              <a:t>Once you determine an acceptable operational margin and response time under typical loads, verify that the environment is configured adequately. To verify the configuration, make sure the SKUs that you selected are based on the desired margins. Be careful to stay as close as possible to your margins. Allocating too much can increase costs and maintenance unnecessarily. Allocating too few can result in a poor user experience.</a:t>
            </a:r>
          </a:p>
          <a:p>
            <a:pPr algn="l"/>
            <a:r>
              <a:rPr lang="en-US" b="0" i="0" dirty="0">
                <a:solidFill>
                  <a:srgbClr val="161616"/>
                </a:solidFill>
                <a:effectLst/>
                <a:latin typeface="Segoe UI" panose="020B0502040204020203" pitchFamily="34" charset="0"/>
              </a:rPr>
              <a:t>In addition to stress testing through increased load, you can stress test by reducing resources to identify what happens when the machine runs out of memory. You can also stress test by increasing latency (for example, the database takes 10 times longer to reply, writes to storage takes 10 times longer, and so on).</a:t>
            </a:r>
          </a:p>
          <a:p>
            <a:pPr algn="l"/>
            <a:endParaRPr lang="en-US" b="1" i="0" dirty="0">
              <a:solidFill>
                <a:srgbClr val="161616"/>
              </a:solidFill>
              <a:effectLst/>
              <a:latin typeface="Segoe UI" panose="020B0502040204020203" pitchFamily="34" charset="0"/>
            </a:endParaRPr>
          </a:p>
          <a:p>
            <a:pPr algn="l"/>
            <a:r>
              <a:rPr lang="en-US" b="1" i="0" dirty="0">
                <a:solidFill>
                  <a:srgbClr val="161616"/>
                </a:solidFill>
                <a:effectLst/>
                <a:latin typeface="Segoe UI" panose="020B0502040204020203" pitchFamily="34" charset="0"/>
              </a:rPr>
              <a:t>Multi-region testing</a:t>
            </a:r>
          </a:p>
          <a:p>
            <a:pPr algn="l"/>
            <a:r>
              <a:rPr lang="en-US" b="0" i="0" dirty="0">
                <a:solidFill>
                  <a:srgbClr val="161616"/>
                </a:solidFill>
                <a:effectLst/>
                <a:latin typeface="Segoe UI" panose="020B0502040204020203" pitchFamily="34" charset="0"/>
              </a:rPr>
              <a:t>A multi-region architecture can provide higher availability than deploying to a single region. If a regional outage affects the primary region, you can use </a:t>
            </a:r>
            <a:r>
              <a:rPr lang="en-US" b="0" i="0" u="none" strike="noStrike" dirty="0">
                <a:solidFill>
                  <a:srgbClr val="161616"/>
                </a:solidFill>
                <a:effectLst/>
                <a:latin typeface="Segoe UI" panose="020B0502040204020203" pitchFamily="34" charset="0"/>
                <a:hlinkClick r:id="rId7"/>
              </a:rPr>
              <a:t>Front Door</a:t>
            </a:r>
            <a:r>
              <a:rPr lang="en-US" b="0" i="0" dirty="0">
                <a:solidFill>
                  <a:srgbClr val="161616"/>
                </a:solidFill>
                <a:effectLst/>
                <a:latin typeface="Segoe UI" panose="020B0502040204020203" pitchFamily="34" charset="0"/>
              </a:rPr>
              <a:t> to use the secondary region. This architecture can also help if an individual subsystem of the application fails.</a:t>
            </a:r>
          </a:p>
          <a:p>
            <a:pPr algn="l"/>
            <a:r>
              <a:rPr lang="en-US" b="0" i="0" dirty="0">
                <a:solidFill>
                  <a:srgbClr val="161616"/>
                </a:solidFill>
                <a:effectLst/>
                <a:latin typeface="Segoe UI" panose="020B0502040204020203" pitchFamily="34" charset="0"/>
              </a:rPr>
              <a:t>Test the amount of time it would take for users to be rerouted to the paired region so that the region doesn't fail. To learn more about routing, see </a:t>
            </a:r>
            <a:r>
              <a:rPr lang="en-US" b="0" i="0" u="none" strike="noStrike" dirty="0">
                <a:solidFill>
                  <a:srgbClr val="161616"/>
                </a:solidFill>
                <a:effectLst/>
                <a:latin typeface="Segoe UI" panose="020B0502040204020203" pitchFamily="34" charset="0"/>
                <a:hlinkClick r:id="rId8"/>
              </a:rPr>
              <a:t>Front Door routing methods</a:t>
            </a:r>
            <a:r>
              <a:rPr lang="en-US" b="0" i="0" dirty="0">
                <a:solidFill>
                  <a:srgbClr val="161616"/>
                </a:solidFill>
                <a:effectLst/>
                <a:latin typeface="Segoe UI" panose="020B0502040204020203" pitchFamily="34" charset="0"/>
              </a:rPr>
              <a:t>. Typically, a planned test failover can help determine how much time would be required to fully scale to support the redirected load.</a:t>
            </a:r>
          </a:p>
          <a:p>
            <a:endParaRPr lang="en-US" b="1" dirty="0"/>
          </a:p>
          <a:p>
            <a:endParaRPr lang="en-US" b="1"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3181277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erformance testing - Microsoft Azure Well-Architected Framework | Microsoft Learn</a:t>
            </a:r>
            <a:endParaRPr lang="en-US" dirty="0"/>
          </a:p>
          <a:p>
            <a:r>
              <a:rPr lang="en-US" dirty="0">
                <a:hlinkClick r:id="rId4"/>
              </a:rPr>
              <a:t>Load Testing - Microsoft Azure Well-Architected Framework | Microsoft Learn</a:t>
            </a:r>
            <a:endParaRPr lang="en-US" dirty="0"/>
          </a:p>
          <a:p>
            <a:r>
              <a:rPr lang="en-US" dirty="0">
                <a:hlinkClick r:id="rId5"/>
              </a:rPr>
              <a:t>What is Azure Load Testing? | Microsoft Learn</a:t>
            </a:r>
            <a:endParaRPr lang="en-US" dirty="0"/>
          </a:p>
          <a:p>
            <a:endParaRPr lang="en-US" b="1" dirty="0"/>
          </a:p>
          <a:p>
            <a:r>
              <a:rPr lang="en-US" b="1" dirty="0"/>
              <a:t>Speaker’s Notes:</a:t>
            </a:r>
          </a:p>
          <a:p>
            <a:endParaRPr lang="en-US" dirty="0"/>
          </a:p>
          <a:p>
            <a:r>
              <a:rPr lang="en-US" dirty="0"/>
              <a:t>From ChatGPT (TBD)</a:t>
            </a:r>
          </a:p>
          <a:p>
            <a:endParaRPr lang="en-US" b="0" i="0" dirty="0">
              <a:solidFill>
                <a:srgbClr val="374151"/>
              </a:solidFill>
              <a:effectLst/>
              <a:latin typeface="Söhne"/>
            </a:endParaRPr>
          </a:p>
          <a:p>
            <a:r>
              <a:rPr lang="en-US" b="0" i="0" dirty="0">
                <a:solidFill>
                  <a:srgbClr val="374151"/>
                </a:solidFill>
                <a:effectLst/>
                <a:latin typeface="Söhne"/>
              </a:rPr>
              <a:t>In summary, load testing is focused on assessing performance under normal or expected conditions, ensuring the system can function optimally within these parameters. </a:t>
            </a:r>
          </a:p>
          <a:p>
            <a:endParaRPr lang="en-US" b="0" i="0" dirty="0">
              <a:solidFill>
                <a:srgbClr val="374151"/>
              </a:solidFill>
              <a:effectLst/>
              <a:latin typeface="Söhne"/>
            </a:endParaRPr>
          </a:p>
          <a:p>
            <a:r>
              <a:rPr lang="en-US" b="0" i="0" dirty="0">
                <a:solidFill>
                  <a:srgbClr val="374151"/>
                </a:solidFill>
                <a:effectLst/>
                <a:latin typeface="Söhne"/>
              </a:rPr>
              <a:t>Stress testing, on the other hand, aims to evaluate how the system behaves beyond its capacity, helping to understand failure points and its behavior under extreme circumstances.</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6</a:t>
            </a:fld>
            <a:endParaRPr lang="en-US"/>
          </a:p>
        </p:txBody>
      </p:sp>
    </p:spTree>
    <p:extLst>
      <p:ext uri="{BB962C8B-B14F-4D97-AF65-F5344CB8AC3E}">
        <p14:creationId xmlns:p14="http://schemas.microsoft.com/office/powerpoint/2010/main" val="1770836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b="1" dirty="0"/>
          </a:p>
          <a:p>
            <a:r>
              <a:rPr lang="en-US" b="1" dirty="0"/>
              <a:t>SAY:</a:t>
            </a:r>
          </a:p>
          <a:p>
            <a:endParaRPr lang="en-US" b="1" dirty="0"/>
          </a:p>
          <a:p>
            <a:pPr marL="171450" indent="-171450">
              <a:buFont typeface="Arial" panose="020B0604020202020204" pitchFamily="34" charset="0"/>
              <a:buChar char="•"/>
            </a:pPr>
            <a:r>
              <a:rPr lang="en-US" b="0" dirty="0"/>
              <a:t>A demo video on JMeter testing is available. You may wish to access it before Exercise 4 tomorrow. </a:t>
            </a:r>
          </a:p>
          <a:p>
            <a:endParaRPr lang="en-US" b="1"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7</a:t>
            </a:fld>
            <a:endParaRPr lang="en-US"/>
          </a:p>
        </p:txBody>
      </p:sp>
    </p:spTree>
    <p:extLst>
      <p:ext uri="{BB962C8B-B14F-4D97-AF65-F5344CB8AC3E}">
        <p14:creationId xmlns:p14="http://schemas.microsoft.com/office/powerpoint/2010/main" val="4219914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8</a:t>
            </a:fld>
            <a:endParaRPr lang="en-US"/>
          </a:p>
        </p:txBody>
      </p:sp>
    </p:spTree>
    <p:extLst>
      <p:ext uri="{BB962C8B-B14F-4D97-AF65-F5344CB8AC3E}">
        <p14:creationId xmlns:p14="http://schemas.microsoft.com/office/powerpoint/2010/main" val="2765973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b="1" dirty="0"/>
          </a:p>
          <a:p>
            <a:r>
              <a:rPr lang="en-US" b="1" dirty="0"/>
              <a:t>SAY:</a:t>
            </a:r>
          </a:p>
          <a:p>
            <a:endParaRPr lang="en-US" dirty="0"/>
          </a:p>
          <a:p>
            <a:r>
              <a:rPr lang="en-US" dirty="0"/>
              <a:t>You may be familiar with how </a:t>
            </a:r>
            <a:r>
              <a:rPr lang="en-US" sz="1100" dirty="0">
                <a:effectLst/>
                <a:latin typeface="Segoe UI" panose="020B0502040204020203" pitchFamily="34" charset="0"/>
                <a:ea typeface="Calibri" panose="020F0502020204030204" pitchFamily="34" charset="0"/>
              </a:rPr>
              <a:t>DevOps practices and collaboration between developer and operations teams led to faster software delivery. </a:t>
            </a:r>
            <a:r>
              <a:rPr lang="en-US" dirty="0"/>
              <a:t>DevOps combines people, processes, and technology to deliver continuous value to users.</a:t>
            </a:r>
          </a:p>
          <a:p>
            <a:endParaRPr lang="en-US" dirty="0"/>
          </a:p>
          <a:p>
            <a:r>
              <a:rPr lang="en-US" dirty="0" err="1"/>
              <a:t>DevSecOps</a:t>
            </a:r>
            <a:r>
              <a:rPr lang="en-US" dirty="0"/>
              <a:t> is the evolution of DevOps where the company takes on a security-first mindset — putting security into every phase of the development lifecycle, from design to delivery.</a:t>
            </a:r>
          </a:p>
          <a:p>
            <a:endParaRPr lang="en-US" dirty="0"/>
          </a:p>
          <a:p>
            <a:r>
              <a:rPr lang="en-US" dirty="0"/>
              <a:t>When implemented successfully, companies gain both the speed of DevOps development practices and the holistic security and peace of mind that comes with </a:t>
            </a:r>
            <a:r>
              <a:rPr lang="en-US" dirty="0" err="1"/>
              <a:t>DevSecOps</a:t>
            </a:r>
            <a:r>
              <a:rPr lang="en-US" dirty="0"/>
              <a:t>. This helps organizations:</a:t>
            </a:r>
          </a:p>
          <a:p>
            <a:pPr marL="5715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Reduce remediation time by shifting security left</a:t>
            </a:r>
          </a:p>
          <a:p>
            <a:pPr marL="5715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Integrate with and secure your </a:t>
            </a:r>
            <a:br>
              <a:rPr lang="en-US" sz="1200" kern="1200" dirty="0">
                <a:solidFill>
                  <a:schemeClr val="tx1"/>
                </a:solidFill>
                <a:latin typeface="+mn-lt"/>
                <a:ea typeface="+mn-ea"/>
                <a:cs typeface="+mn-cs"/>
              </a:rPr>
            </a:br>
            <a:r>
              <a:rPr lang="en-US" sz="1200" kern="1200" dirty="0">
                <a:solidFill>
                  <a:schemeClr val="tx1"/>
                </a:solidFill>
                <a:latin typeface="+mn-lt"/>
                <a:ea typeface="+mn-ea"/>
                <a:cs typeface="+mn-cs"/>
              </a:rPr>
              <a:t>existing toolchains</a:t>
            </a:r>
          </a:p>
          <a:p>
            <a:pPr marL="5715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And quickly identify new threat vectors</a:t>
            </a:r>
            <a:endParaRPr lang="en-US" dirty="0"/>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9C7E86-76DE-4D38-A718-39A1E655A7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818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2.xml"/><Relationship Id="rId5" Type="http://schemas.openxmlformats.org/officeDocument/2006/relationships/image" Target="../media/image40.jpeg"/><Relationship Id="rId4" Type="http://schemas.openxmlformats.org/officeDocument/2006/relationships/image" Target="../media/image39.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3.emf"/><Relationship Id="rId1" Type="http://schemas.openxmlformats.org/officeDocument/2006/relationships/slideMaster" Target="../slideMasters/slideMaster4.xml"/><Relationship Id="rId5" Type="http://schemas.openxmlformats.org/officeDocument/2006/relationships/image" Target="../media/image50.png"/><Relationship Id="rId4" Type="http://schemas.openxmlformats.org/officeDocument/2006/relationships/image" Target="../media/image49.jpe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8.xml"/><Relationship Id="rId4" Type="http://schemas.openxmlformats.org/officeDocument/2006/relationships/image" Target="../media/image64.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70.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0.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9.xml"/><Relationship Id="rId4" Type="http://schemas.openxmlformats.org/officeDocument/2006/relationships/image" Target="../media/image64.png"/></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0.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9.png"/><Relationship Id="rId1" Type="http://schemas.openxmlformats.org/officeDocument/2006/relationships/slideMaster" Target="../slideMasters/slideMaster9.xml"/><Relationship Id="rId4" Type="http://schemas.openxmlformats.org/officeDocument/2006/relationships/image" Target="../media/image70.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6.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A2ABC6-B814-47F0-773C-E98F4FAB0934}"/>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15306179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3034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7294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66796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4342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8708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1847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79008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67788893"/>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8732420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043572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Gradient_Dark">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7768510A-173B-19F7-1F2D-ED780D611BCC}"/>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34451"/>
            <a:ext cx="3210560" cy="2385268"/>
          </a:xfrm>
          <a:prstGeom prst="rect">
            <a:avLst/>
          </a:prstGeom>
          <a:noFill/>
        </p:spPr>
        <p:txBody>
          <a:bodyPr wrap="square" lIns="0" tIns="0" rIns="0" bIns="0" rtlCol="0">
            <a:spAutoFit/>
          </a:bodyPr>
          <a:lstStyle/>
          <a:p>
            <a:pPr algn="l"/>
            <a:r>
              <a:rPr lang="en-US" sz="15500" b="1" i="0">
                <a:solidFill>
                  <a:schemeClr val="accent1"/>
                </a:solidFill>
                <a:latin typeface="Segoe UI Black" panose="020B0502040204020203" pitchFamily="34" charset="0"/>
                <a:cs typeface="Segoe UI Black" panose="020B0502040204020203" pitchFamily="34" charset="0"/>
              </a:rPr>
              <a:t>“</a:t>
            </a:r>
          </a:p>
        </p:txBody>
      </p:sp>
      <p:sp>
        <p:nvSpPr>
          <p:cNvPr id="6" name="Text Placeholder 2">
            <a:extLst>
              <a:ext uri="{FF2B5EF4-FFF2-40B4-BE49-F238E27FC236}">
                <a16:creationId xmlns:a16="http://schemas.microsoft.com/office/drawing/2014/main" id="{353DB693-9E14-2A54-6E54-90F1A991A200}"/>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bg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bg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bg1"/>
                </a:solidFill>
                <a:latin typeface="+mn-lt"/>
                <a:cs typeface="Segoe UI Semilight" panose="020B0402040204020203" pitchFamily="34"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5565317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90341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10468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020578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93889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9879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6855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329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484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4572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147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49056"/>
            <a:ext cx="3210560" cy="2385268"/>
          </a:xfrm>
          <a:prstGeom prst="rect">
            <a:avLst/>
          </a:prstGeom>
          <a:noFill/>
        </p:spPr>
        <p:txBody>
          <a:bodyPr wrap="square" lIns="0" tIns="0" rIns="0" bIns="0" rtlCol="0">
            <a:spAutoFit/>
          </a:bodyPr>
          <a:lstStyle/>
          <a:p>
            <a:pPr algn="l"/>
            <a:r>
              <a:rPr lang="en-US" sz="15500" b="1" i="0">
                <a:solidFill>
                  <a:schemeClr val="bg2"/>
                </a:solidFill>
                <a:latin typeface="Segoe UI Black" panose="020B0502040204020203" pitchFamily="34" charset="0"/>
                <a:cs typeface="Segoe UI Black" panose="020B0502040204020203" pitchFamily="34" charset="0"/>
              </a:rPr>
              <a:t>“</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D1A3D33B-0846-E270-67D0-568C86BF9F51}"/>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tx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5" name="Text Placeholder 3">
            <a:extLst>
              <a:ext uri="{FF2B5EF4-FFF2-40B4-BE49-F238E27FC236}">
                <a16:creationId xmlns:a16="http://schemas.microsoft.com/office/drawing/2014/main" id="{6A020AF3-FE93-EFCF-E084-EA2A1BA23A69}"/>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tx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9" name="Text Placeholder 9">
            <a:extLst>
              <a:ext uri="{FF2B5EF4-FFF2-40B4-BE49-F238E27FC236}">
                <a16:creationId xmlns:a16="http://schemas.microsoft.com/office/drawing/2014/main" id="{CCD47743-083A-D131-B5C6-F50D02ECF395}"/>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tx1"/>
                </a:solidFill>
                <a:latin typeface="+mn-lt"/>
                <a:cs typeface="Segoe UI Semilight" panose="020B0402040204020203" pitchFamily="34" charset="0"/>
              </a:defRPr>
            </a:lvl1pPr>
          </a:lstStyle>
          <a:p>
            <a:pPr lvl="0"/>
            <a:r>
              <a:rPr lang="en-US"/>
              <a:t>Tertiary Information Goes Here</a:t>
            </a:r>
          </a:p>
        </p:txBody>
      </p:sp>
    </p:spTree>
    <p:extLst>
      <p:ext uri="{BB962C8B-B14F-4D97-AF65-F5344CB8AC3E}">
        <p14:creationId xmlns:p14="http://schemas.microsoft.com/office/powerpoint/2010/main" val="143351309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3908959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DEE69-3F33-46A0-AEC1-0C73804C83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9826ED-BD1D-4C6B-8D3C-F5E2C45D74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EC0665-4453-4DC3-8A47-00D8D2937314}"/>
              </a:ext>
            </a:extLst>
          </p:cNvPr>
          <p:cNvSpPr>
            <a:spLocks noGrp="1"/>
          </p:cNvSpPr>
          <p:nvPr>
            <p:ph type="dt" sz="half" idx="10"/>
          </p:nvPr>
        </p:nvSpPr>
        <p:spPr/>
        <p:txBody>
          <a:bodyPr/>
          <a:lstStyle/>
          <a:p>
            <a:fld id="{B8DDED11-4E6A-458B-81D8-9F1C5BA9B72E}" type="datetimeFigureOut">
              <a:rPr lang="en-US" smtClean="0"/>
              <a:t>3/5/2024</a:t>
            </a:fld>
            <a:endParaRPr lang="en-US"/>
          </a:p>
        </p:txBody>
      </p:sp>
      <p:sp>
        <p:nvSpPr>
          <p:cNvPr id="5" name="Footer Placeholder 4">
            <a:extLst>
              <a:ext uri="{FF2B5EF4-FFF2-40B4-BE49-F238E27FC236}">
                <a16:creationId xmlns:a16="http://schemas.microsoft.com/office/drawing/2014/main" id="{86FCA0A3-5F83-4EF0-91AB-A7B5E03186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2E2B8-AD8B-4995-ABB8-023BE8772943}"/>
              </a:ext>
            </a:extLst>
          </p:cNvPr>
          <p:cNvSpPr>
            <a:spLocks noGrp="1"/>
          </p:cNvSpPr>
          <p:nvPr>
            <p:ph type="sldNum" sz="quarter" idx="12"/>
          </p:nvPr>
        </p:nvSpPr>
        <p:spPr/>
        <p:txBody>
          <a:bodyPr/>
          <a:lstStyle/>
          <a:p>
            <a:fld id="{A854E95A-2724-4C32-8805-4CA84F67F66A}" type="slidenum">
              <a:rPr lang="en-US" smtClean="0"/>
              <a:t>‹#›</a:t>
            </a:fld>
            <a:endParaRPr lang="en-US"/>
          </a:p>
        </p:txBody>
      </p:sp>
    </p:spTree>
    <p:extLst>
      <p:ext uri="{BB962C8B-B14F-4D97-AF65-F5344CB8AC3E}">
        <p14:creationId xmlns:p14="http://schemas.microsoft.com/office/powerpoint/2010/main" val="12601994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Photo layout 1">
    <p:bg>
      <p:bgPr>
        <a:solidFill>
          <a:srgbClr val="1A1B2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bg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202758"/>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301770"/>
          </a:xfrm>
          <a:prstGeom prst="rect">
            <a:avLst/>
          </a:prstGeom>
        </p:spPr>
        <p:txBody>
          <a:bodyPr wrap="square" lIns="0" tIns="0" rIns="0" bIns="0">
            <a:spAutoFit/>
          </a:bodyPr>
          <a:lstStyle>
            <a:lvl1pPr marL="0" indent="0">
              <a:lnSpc>
                <a:spcPts val="2353"/>
              </a:lnSpc>
              <a:buNone/>
              <a:defRPr lang="en-US" sz="1961" kern="1200" spc="0" baseline="0" dirty="0">
                <a:solidFill>
                  <a:schemeClr val="bg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D2D2D2">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62257"/>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202758"/>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62257"/>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547385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Light"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8929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mj-lt"/>
                <a:cs typeface="Segoe UI Light" panose="020B0502040204020203"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9018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atin typeface="+mn-lt"/>
              </a:defRPr>
            </a:lvl1pPr>
            <a:lvl2pPr marL="228600" indent="0">
              <a:buNone/>
              <a:defRPr>
                <a:latin typeface="+mn-lt"/>
              </a:defRPr>
            </a:lvl2pPr>
            <a:lvl3pPr marL="457200" indent="0">
              <a:buNone/>
              <a:defRPr>
                <a:latin typeface="+mn-lt"/>
              </a:defRPr>
            </a:lvl3pPr>
            <a:lvl4pPr marL="685800" indent="0">
              <a:buNone/>
              <a:defRPr>
                <a:latin typeface="+mn-lt"/>
              </a:defRPr>
            </a:lvl4pPr>
            <a:lvl5pPr marL="914400" indent="0">
              <a:buNone/>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9758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Segoe UI Light" panose="020B0502040204020203" pitchFamily="34" charset="0"/>
                <a:cs typeface="Segoe UI Light"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58901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659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3400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9367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Half_Gradient_Dark">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967B9A36-AFB3-9AFF-01B8-541D1DFB970C}"/>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696201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637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545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accent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1900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Light" panose="020B0502040204020203" pitchFamily="34" charset="0"/>
                <a:cs typeface="Segoe UI Light"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7661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00698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11797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759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Light" panose="020B0502040204020203" pitchFamily="34" charset="0"/>
                <a:cs typeface="Segoe UI Light"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8689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8534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16890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_Half_Whit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UI" panose="020B0502040204020203" pitchFamily="34"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j-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1289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59671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996179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96341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1177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3620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7556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7"/>
          </a:xfrm>
        </p:spPr>
        <p:txBody>
          <a:bodyPr/>
          <a:lstStyle>
            <a:lvl1pPr marL="0" indent="0">
              <a:buFontTx/>
              <a:buNone/>
              <a:defRPr sz="2000">
                <a:latin typeface="+mn-lt"/>
              </a:defRPr>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9008168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69332"/>
          </a:xfrm>
        </p:spPr>
        <p:txBody>
          <a:bodyPr/>
          <a:lstStyle>
            <a:lvl1pPr marL="0" indent="0">
              <a:spcAft>
                <a:spcPts val="1200"/>
              </a:spcAft>
              <a:buNone/>
              <a:defRPr sz="2400">
                <a:latin typeface="+mn-lt"/>
              </a:defRPr>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905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4394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9"/>
            <a:ext cx="6669658" cy="430887"/>
          </a:xfrm>
        </p:spPr>
        <p:txBody>
          <a:bodyPr anchor="ctr" anchorCtr="0"/>
          <a:lstStyle>
            <a:lvl1pPr marL="0" indent="0">
              <a:spcAft>
                <a:spcPts val="1200"/>
              </a:spcAft>
              <a:buNone/>
              <a:defRPr sz="2800">
                <a:latin typeface="+mn-lt"/>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8226146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7742933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7999"/>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4413251"/>
            <a:ext cx="4994021" cy="1631950"/>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Tree>
    <p:extLst>
      <p:ext uri="{BB962C8B-B14F-4D97-AF65-F5344CB8AC3E}">
        <p14:creationId xmlns:p14="http://schemas.microsoft.com/office/powerpoint/2010/main" val="20708149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88668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8619878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4223815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1394693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2167353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Segoe UI Light" panose="020B0502040204020203" pitchFamily="34" charset="0"/>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423810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152290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1426845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Segoe UI Light" panose="020B0502040204020203" pitchFamily="34" charset="0"/>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360646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279381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_Bleed_Top_Dark">
    <p:spTree>
      <p:nvGrpSpPr>
        <p:cNvPr id="1" name=""/>
        <p:cNvGrpSpPr/>
        <p:nvPr/>
      </p:nvGrpSpPr>
      <p:grpSpPr>
        <a:xfrm>
          <a:off x="0" y="0"/>
          <a:ext cx="0" cy="0"/>
          <a:chOff x="0" y="0"/>
          <a:chExt cx="0" cy="0"/>
        </a:xfrm>
      </p:grpSpPr>
      <p:sp>
        <p:nvSpPr>
          <p:cNvPr id="6" name="Freeform: Shape 21">
            <a:extLst>
              <a:ext uri="{FF2B5EF4-FFF2-40B4-BE49-F238E27FC236}">
                <a16:creationId xmlns:a16="http://schemas.microsoft.com/office/drawing/2014/main" id="{13669B96-73C7-395C-015A-E045A1D58DE0}"/>
              </a:ext>
            </a:extLst>
          </p:cNvPr>
          <p:cNvSpPr/>
          <p:nvPr userDrawn="1"/>
        </p:nvSpPr>
        <p:spPr bwMode="auto">
          <a:xfrm>
            <a:off x="0" y="0"/>
            <a:ext cx="12192000" cy="93915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24978779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92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50790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88263" y="1436688"/>
            <a:ext cx="11018520" cy="812530"/>
          </a:xfrm>
        </p:spPr>
        <p:txBody>
          <a:bodyPr/>
          <a:lstStyle>
            <a:lvl1pPr marL="0" indent="0">
              <a:buNone/>
              <a:defRPr sz="24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1pPr>
            <a:lvl2pPr marL="346553" indent="0">
              <a:buNone/>
              <a:defRPr lang="en-US" sz="2400" kern="1200" spc="0" baseline="0" dirty="0">
                <a:gradFill>
                  <a:gsLst>
                    <a:gs pos="61049">
                      <a:schemeClr val="tx1"/>
                    </a:gs>
                    <a:gs pos="43000">
                      <a:schemeClr val="tx1"/>
                    </a:gs>
                  </a:gsLst>
                  <a:lin ang="5400000" scaled="0"/>
                </a:gradFill>
                <a:latin typeface="Lucida Console" panose="020B0609040504020204" pitchFamily="49" charset="0"/>
                <a:ea typeface="+mn-ea"/>
                <a:cs typeface="Lucida Console" panose="020B0609040504020204" pitchFamily="49" charset="0"/>
              </a:defRPr>
            </a:lvl2pPr>
            <a:lvl3pPr marL="584607" indent="0">
              <a:buNone/>
              <a:defRPr sz="18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3pPr>
            <a:lvl4pPr marL="814563" indent="0">
              <a:buNone/>
              <a:defRPr sz="16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4pPr>
            <a:lvl5pPr marL="1050997" indent="0">
              <a:buNone/>
              <a:defRPr sz="16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4850385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Copyright Microsoft Corporation. All rights reserved. </a:t>
            </a:r>
          </a:p>
        </p:txBody>
      </p:sp>
    </p:spTree>
    <p:extLst>
      <p:ext uri="{BB962C8B-B14F-4D97-AF65-F5344CB8AC3E}">
        <p14:creationId xmlns:p14="http://schemas.microsoft.com/office/powerpoint/2010/main" val="164726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Light" panose="020B0502040204020203" pitchFamily="34" charset="0"/>
                <a:cs typeface="Segoe UI Light" panose="020B0502040204020203" pitchFamily="34" charset="0"/>
              </a:defRPr>
            </a:lvl1pPr>
            <a:lvl2pPr>
              <a:defRPr sz="2800">
                <a:latin typeface="Segoe UI Light" panose="020B0502040204020203" pitchFamily="34" charset="0"/>
                <a:cs typeface="Segoe UI Light" panose="020B0502040204020203" pitchFamily="34" charset="0"/>
              </a:defRPr>
            </a:lvl2pPr>
            <a:lvl3pPr>
              <a:defRPr sz="2400">
                <a:latin typeface="Segoe UI Light" panose="020B0502040204020203" pitchFamily="34" charset="0"/>
                <a:cs typeface="Segoe UI Light" panose="020B0502040204020203" pitchFamily="34" charset="0"/>
              </a:defRPr>
            </a:lvl3pPr>
            <a:lvl4pPr>
              <a:defRPr sz="2000">
                <a:latin typeface="Segoe UI Light" panose="020B0502040204020203" pitchFamily="34" charset="0"/>
                <a:cs typeface="Segoe UI Light" panose="020B0502040204020203" pitchFamily="34" charset="0"/>
              </a:defRPr>
            </a:lvl4pPr>
            <a:lvl5pPr>
              <a:defRPr sz="1800">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6662740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B5DD5-4D2B-CF4E-AF7A-178D0EF1D7A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F223C94-D97D-F142-971A-82526F1127B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B13DED8-317C-C64B-B69B-C3A20EE59AF6}"/>
              </a:ext>
            </a:extLst>
          </p:cNvPr>
          <p:cNvSpPr>
            <a:spLocks noGrp="1"/>
          </p:cNvSpPr>
          <p:nvPr>
            <p:ph type="dt" sz="half" idx="10"/>
          </p:nvPr>
        </p:nvSpPr>
        <p:spPr/>
        <p:txBody>
          <a:bodyPr/>
          <a:lstStyle/>
          <a:p>
            <a:fld id="{289D183E-1588-B346-A6C4-896153F27841}" type="datetimeFigureOut">
              <a:rPr lang="en-US" smtClean="0"/>
              <a:t>3/5/2024</a:t>
            </a:fld>
            <a:endParaRPr lang="en-US"/>
          </a:p>
        </p:txBody>
      </p:sp>
      <p:sp>
        <p:nvSpPr>
          <p:cNvPr id="5" name="Footer Placeholder 4">
            <a:extLst>
              <a:ext uri="{FF2B5EF4-FFF2-40B4-BE49-F238E27FC236}">
                <a16:creationId xmlns:a16="http://schemas.microsoft.com/office/drawing/2014/main" id="{1731D76B-545E-1F4C-A624-CB54F865C2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89227E-7D7A-4A4F-91C5-74E889F61C33}"/>
              </a:ext>
            </a:extLst>
          </p:cNvPr>
          <p:cNvSpPr>
            <a:spLocks noGrp="1"/>
          </p:cNvSpPr>
          <p:nvPr>
            <p:ph type="sldNum" sz="quarter" idx="12"/>
          </p:nvPr>
        </p:nvSpPr>
        <p:spPr/>
        <p:txBody>
          <a:bodyPr/>
          <a:lstStyle/>
          <a:p>
            <a:fld id="{159BC3BF-1B96-5F4D-A0ED-6D3EE19FC291}" type="slidenum">
              <a:rPr lang="en-US" smtClean="0"/>
              <a:t>‹#›</a:t>
            </a:fld>
            <a:endParaRPr lang="en-US"/>
          </a:p>
        </p:txBody>
      </p:sp>
    </p:spTree>
    <p:extLst>
      <p:ext uri="{BB962C8B-B14F-4D97-AF65-F5344CB8AC3E}">
        <p14:creationId xmlns:p14="http://schemas.microsoft.com/office/powerpoint/2010/main" val="2706141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icture containing person, indoor, table, computer&#10;&#10;Description automatically generated">
            <a:extLst>
              <a:ext uri="{FF2B5EF4-FFF2-40B4-BE49-F238E27FC236}">
                <a16:creationId xmlns:a16="http://schemas.microsoft.com/office/drawing/2014/main" id="{C5675DA3-1E5B-4C43-A9E8-3251C1F95B09}"/>
              </a:ext>
            </a:extLst>
          </p:cNvPr>
          <p:cNvPicPr>
            <a:picLocks noChangeAspect="1"/>
          </p:cNvPicPr>
          <p:nvPr userDrawn="1"/>
        </p:nvPicPr>
        <p:blipFill rotWithShape="1">
          <a:blip r:embed="rId3">
            <a:clrChange>
              <a:clrFrom>
                <a:srgbClr val="254D7E"/>
              </a:clrFrom>
              <a:clrTo>
                <a:srgbClr val="254D7E">
                  <a:alpha val="0"/>
                </a:srgbClr>
              </a:clrTo>
            </a:clrChange>
          </a:blip>
          <a:srcRect l="28391" r="5002"/>
          <a:stretch/>
        </p:blipFill>
        <p:spPr>
          <a:xfrm>
            <a:off x="5343524" y="0"/>
            <a:ext cx="6848475" cy="6858000"/>
          </a:xfrm>
          <a:prstGeom prst="rect">
            <a:avLst/>
          </a:prstGeom>
        </p:spPr>
      </p:pic>
      <p:pic>
        <p:nvPicPr>
          <p:cNvPr id="8" name="Picture 7" descr="A picture containing transport, building, ceiling, balloon&#10;&#10;Description automatically generated">
            <a:extLst>
              <a:ext uri="{FF2B5EF4-FFF2-40B4-BE49-F238E27FC236}">
                <a16:creationId xmlns:a16="http://schemas.microsoft.com/office/drawing/2014/main" id="{E484B845-9245-4982-8C4E-36F59BD66DDE}"/>
              </a:ext>
            </a:extLst>
          </p:cNvPr>
          <p:cNvPicPr>
            <a:picLocks noChangeAspect="1"/>
          </p:cNvPicPr>
          <p:nvPr userDrawn="1"/>
        </p:nvPicPr>
        <p:blipFill rotWithShape="1">
          <a:blip r:embed="rId4">
            <a:alphaModFix amt="10000"/>
          </a:blip>
          <a:srcRect l="43691" t="16000"/>
          <a:stretch/>
        </p:blipFill>
        <p:spPr>
          <a:xfrm>
            <a:off x="5343524" y="0"/>
            <a:ext cx="6848476" cy="6858000"/>
          </a:xfrm>
          <a:prstGeom prst="rect">
            <a:avLst/>
          </a:prstGeom>
        </p:spPr>
      </p:pic>
      <p:pic>
        <p:nvPicPr>
          <p:cNvPr id="10" name="Picture 9">
            <a:extLst>
              <a:ext uri="{FF2B5EF4-FFF2-40B4-BE49-F238E27FC236}">
                <a16:creationId xmlns:a16="http://schemas.microsoft.com/office/drawing/2014/main" id="{2F3069D5-F9A1-44ED-B4F6-413466B1811E}"/>
              </a:ext>
            </a:extLst>
          </p:cNvPr>
          <p:cNvPicPr>
            <a:picLocks noChangeAspect="1"/>
          </p:cNvPicPr>
          <p:nvPr userDrawn="1"/>
        </p:nvPicPr>
        <p:blipFill rotWithShape="1">
          <a:blip r:embed="rId5"/>
          <a:srcRect r="50586"/>
          <a:stretch/>
        </p:blipFill>
        <p:spPr>
          <a:xfrm>
            <a:off x="7693000" y="0"/>
            <a:ext cx="4508523" cy="6858000"/>
          </a:xfrm>
          <a:prstGeom prst="rect">
            <a:avLst/>
          </a:prstGeom>
        </p:spPr>
      </p:pic>
    </p:spTree>
    <p:extLst>
      <p:ext uri="{BB962C8B-B14F-4D97-AF65-F5344CB8AC3E}">
        <p14:creationId xmlns:p14="http://schemas.microsoft.com/office/powerpoint/2010/main" val="1653520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50605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409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87335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Top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4051788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008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0427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4046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684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05517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29039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26083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73190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413154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3891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_Dark">
    <p:spTree>
      <p:nvGrpSpPr>
        <p:cNvPr id="1" name=""/>
        <p:cNvGrpSpPr/>
        <p:nvPr/>
      </p:nvGrpSpPr>
      <p:grpSpPr>
        <a:xfrm>
          <a:off x="0" y="0"/>
          <a:ext cx="0" cy="0"/>
          <a:chOff x="0" y="0"/>
          <a:chExt cx="0" cy="0"/>
        </a:xfrm>
      </p:grpSpPr>
      <p:sp>
        <p:nvSpPr>
          <p:cNvPr id="4" name="Freeform: Shape 21">
            <a:extLst>
              <a:ext uri="{FF2B5EF4-FFF2-40B4-BE49-F238E27FC236}">
                <a16:creationId xmlns:a16="http://schemas.microsoft.com/office/drawing/2014/main" id="{30D53D23-E1A4-6FA2-FF30-09086BE134AB}"/>
              </a:ext>
            </a:extLst>
          </p:cNvPr>
          <p:cNvSpPr/>
          <p:nvPr userDrawn="1"/>
        </p:nvSpPr>
        <p:spPr bwMode="auto">
          <a:xfrm>
            <a:off x="0" y="5194294"/>
            <a:ext cx="12192000" cy="166370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614234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19879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77577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28127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48792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75006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27515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5066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5434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20824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103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Bottom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tx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3860145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9457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544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744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p15:clr>
            <a:srgbClr val="FBAE40"/>
          </p15:clr>
        </p15:guide>
        <p15:guide id="32" orient="horz" pos="355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1524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9365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548498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12374853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2572713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184315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245033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Half_Gradient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122E4458-4AC8-7D69-7115-4822065713E3}"/>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37975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4127750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04062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84865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595292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18896294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0" name="Arrow: Pentagon 44">
            <a:extLst>
              <a:ext uri="{FF2B5EF4-FFF2-40B4-BE49-F238E27FC236}">
                <a16:creationId xmlns:a16="http://schemas.microsoft.com/office/drawing/2014/main" id="{8DB1A74A-CEE5-B865-5C91-B0166C7286D7}"/>
              </a:ext>
            </a:extLst>
          </p:cNvPr>
          <p:cNvSpPr/>
          <p:nvPr userDrawn="1"/>
        </p:nvSpPr>
        <p:spPr bwMode="auto">
          <a:xfrm>
            <a:off x="0" y="0"/>
            <a:ext cx="6409564" cy="6858000"/>
          </a:xfrm>
          <a:prstGeom prst="homePlate">
            <a:avLst>
              <a:gd name="adj" fmla="val 27471"/>
            </a:avLst>
          </a:prstGeom>
          <a:solidFill>
            <a:schemeClr val="bg1"/>
          </a:solidFill>
          <a:ln>
            <a:noFill/>
            <a:headEnd type="none" w="med" len="med"/>
            <a:tailEnd type="none" w="med" len="med"/>
          </a:ln>
          <a:effectLst>
            <a:outerShdw blurRad="295671" sx="98669" sy="98669" algn="ctr" rotWithShape="0">
              <a:prstClr val="black">
                <a:alpha val="15000"/>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12" name="MS logo gray - EMF" descr="Microsoft logo, gray text version">
            <a:extLst>
              <a:ext uri="{FF2B5EF4-FFF2-40B4-BE49-F238E27FC236}">
                <a16:creationId xmlns:a16="http://schemas.microsoft.com/office/drawing/2014/main" id="{C2F16BF7-7F8E-9412-8FD7-4069676C58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4" name="Footer Placeholder 3">
            <a:extLst>
              <a:ext uri="{FF2B5EF4-FFF2-40B4-BE49-F238E27FC236}">
                <a16:creationId xmlns:a16="http://schemas.microsoft.com/office/drawing/2014/main" id="{CED92B98-BE71-EF7A-C525-2F4E1AAE5F0A}"/>
              </a:ext>
            </a:extLst>
          </p:cNvPr>
          <p:cNvSpPr>
            <a:spLocks noGrp="1"/>
          </p:cNvSpPr>
          <p:nvPr>
            <p:ph type="ftr" sz="quarter" idx="12"/>
          </p:nvPr>
        </p:nvSpPr>
        <p:spPr/>
        <p:txBody>
          <a:bodyPr/>
          <a:lstStyle/>
          <a:p>
            <a:r>
              <a:rPr lang="en-US"/>
              <a:t>Microsoft Confidential</a:t>
            </a:r>
          </a:p>
        </p:txBody>
      </p:sp>
      <p:sp>
        <p:nvSpPr>
          <p:cNvPr id="9" name="Text Placeholder 2">
            <a:extLst>
              <a:ext uri="{FF2B5EF4-FFF2-40B4-BE49-F238E27FC236}">
                <a16:creationId xmlns:a16="http://schemas.microsoft.com/office/drawing/2014/main" id="{3716366F-24AB-0AB2-1682-DED458803E9A}"/>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26713FEE-9C26-1A8C-1DE8-14729D74C07D}"/>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Text Placeholder 9">
            <a:extLst>
              <a:ext uri="{FF2B5EF4-FFF2-40B4-BE49-F238E27FC236}">
                <a16:creationId xmlns:a16="http://schemas.microsoft.com/office/drawing/2014/main" id="{93CE9535-0F1B-F6F0-1BB7-38A4E0D56456}"/>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1474939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2942015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402652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8360417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_White_NoBreak">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tx1"/>
                </a:solidFill>
              </a:defRPr>
            </a:lvl1pPr>
          </a:lstStyle>
          <a:p>
            <a:r>
              <a:rPr lang="en-US"/>
              <a:t>Microsoft Confidential</a:t>
            </a:r>
          </a:p>
        </p:txBody>
      </p:sp>
      <p:pic>
        <p:nvPicPr>
          <p:cNvPr id="9" name="MS logo gray - EMF" descr="Microsoft logo, gray text version">
            <a:extLst>
              <a:ext uri="{FF2B5EF4-FFF2-40B4-BE49-F238E27FC236}">
                <a16:creationId xmlns:a16="http://schemas.microsoft.com/office/drawing/2014/main" id="{F4EC7EC5-3DE3-2CB4-7AB0-8522148E3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3" name="Text Placeholder 9">
            <a:extLst>
              <a:ext uri="{FF2B5EF4-FFF2-40B4-BE49-F238E27FC236}">
                <a16:creationId xmlns:a16="http://schemas.microsoft.com/office/drawing/2014/main" id="{9AF400F6-F5AC-2B39-EEC9-301A2C740E23}"/>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2540188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Half_Image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749096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4511537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_Gradient_Dar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DCD9B43-714C-2FF2-432D-9FD044DC4EDF}"/>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CA712EDF-3A9B-23E2-ACC4-CAAFBD2EF6FC}"/>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40756177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A2ABC6-B814-47F0-773C-E98F4FAB0934}"/>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1064116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_Gradient_Dark">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7768510A-173B-19F7-1F2D-ED780D611BCC}"/>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34451"/>
            <a:ext cx="3210560" cy="2385268"/>
          </a:xfrm>
          <a:prstGeom prst="rect">
            <a:avLst/>
          </a:prstGeom>
          <a:noFill/>
        </p:spPr>
        <p:txBody>
          <a:bodyPr wrap="square" lIns="0" tIns="0" rIns="0" bIns="0" rtlCol="0">
            <a:spAutoFit/>
          </a:bodyPr>
          <a:lstStyle/>
          <a:p>
            <a:pPr algn="l"/>
            <a:r>
              <a:rPr lang="en-US" sz="15500" b="1" i="0">
                <a:solidFill>
                  <a:schemeClr val="accent1"/>
                </a:solidFill>
                <a:latin typeface="Segoe UI Black" panose="020B0502040204020203" pitchFamily="34" charset="0"/>
                <a:cs typeface="Segoe UI Black" panose="020B0502040204020203" pitchFamily="34" charset="0"/>
              </a:rPr>
              <a:t>“</a:t>
            </a:r>
          </a:p>
        </p:txBody>
      </p:sp>
      <p:sp>
        <p:nvSpPr>
          <p:cNvPr id="6" name="Text Placeholder 2">
            <a:extLst>
              <a:ext uri="{FF2B5EF4-FFF2-40B4-BE49-F238E27FC236}">
                <a16:creationId xmlns:a16="http://schemas.microsoft.com/office/drawing/2014/main" id="{353DB693-9E14-2A54-6E54-90F1A991A200}"/>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bg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bg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bg1"/>
                </a:solidFill>
                <a:latin typeface="+mn-lt"/>
                <a:cs typeface="Segoe UI Semilight" panose="020B0402040204020203" pitchFamily="34"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4995659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49056"/>
            <a:ext cx="3210560" cy="2385268"/>
          </a:xfrm>
          <a:prstGeom prst="rect">
            <a:avLst/>
          </a:prstGeom>
          <a:noFill/>
        </p:spPr>
        <p:txBody>
          <a:bodyPr wrap="square" lIns="0" tIns="0" rIns="0" bIns="0" rtlCol="0">
            <a:spAutoFit/>
          </a:bodyPr>
          <a:lstStyle/>
          <a:p>
            <a:pPr algn="l"/>
            <a:r>
              <a:rPr lang="en-US" sz="15500" b="1" i="0">
                <a:solidFill>
                  <a:schemeClr val="bg2"/>
                </a:solidFill>
                <a:latin typeface="Segoe UI Black" panose="020B0502040204020203" pitchFamily="34" charset="0"/>
                <a:cs typeface="Segoe UI Black" panose="020B0502040204020203" pitchFamily="34" charset="0"/>
              </a:rPr>
              <a:t>“</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D1A3D33B-0846-E270-67D0-568C86BF9F51}"/>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tx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5" name="Text Placeholder 3">
            <a:extLst>
              <a:ext uri="{FF2B5EF4-FFF2-40B4-BE49-F238E27FC236}">
                <a16:creationId xmlns:a16="http://schemas.microsoft.com/office/drawing/2014/main" id="{6A020AF3-FE93-EFCF-E084-EA2A1BA23A69}"/>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tx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9" name="Text Placeholder 9">
            <a:extLst>
              <a:ext uri="{FF2B5EF4-FFF2-40B4-BE49-F238E27FC236}">
                <a16:creationId xmlns:a16="http://schemas.microsoft.com/office/drawing/2014/main" id="{CCD47743-083A-D131-B5C6-F50D02ECF395}"/>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tx1"/>
                </a:solidFill>
                <a:latin typeface="+mn-lt"/>
                <a:cs typeface="Segoe UI Semilight" panose="020B0402040204020203" pitchFamily="34" charset="0"/>
              </a:defRPr>
            </a:lvl1pPr>
          </a:lstStyle>
          <a:p>
            <a:pPr lvl="0"/>
            <a:r>
              <a:rPr lang="en-US"/>
              <a:t>Tertiary Information Goes Here</a:t>
            </a:r>
          </a:p>
        </p:txBody>
      </p:sp>
    </p:spTree>
    <p:extLst>
      <p:ext uri="{BB962C8B-B14F-4D97-AF65-F5344CB8AC3E}">
        <p14:creationId xmlns:p14="http://schemas.microsoft.com/office/powerpoint/2010/main" val="279017896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_Half_Gradient_Dark">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967B9A36-AFB3-9AFF-01B8-541D1DFB970C}"/>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301489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_Half_Whit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UI" panose="020B0502040204020203" pitchFamily="34"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j-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764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7999"/>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4413251"/>
            <a:ext cx="4994021" cy="1631950"/>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Tree>
    <p:extLst>
      <p:ext uri="{BB962C8B-B14F-4D97-AF65-F5344CB8AC3E}">
        <p14:creationId xmlns:p14="http://schemas.microsoft.com/office/powerpoint/2010/main" val="1012176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ull_Bleed_Top_Dark">
    <p:spTree>
      <p:nvGrpSpPr>
        <p:cNvPr id="1" name=""/>
        <p:cNvGrpSpPr/>
        <p:nvPr/>
      </p:nvGrpSpPr>
      <p:grpSpPr>
        <a:xfrm>
          <a:off x="0" y="0"/>
          <a:ext cx="0" cy="0"/>
          <a:chOff x="0" y="0"/>
          <a:chExt cx="0" cy="0"/>
        </a:xfrm>
      </p:grpSpPr>
      <p:sp>
        <p:nvSpPr>
          <p:cNvPr id="6" name="Freeform: Shape 21">
            <a:extLst>
              <a:ext uri="{FF2B5EF4-FFF2-40B4-BE49-F238E27FC236}">
                <a16:creationId xmlns:a16="http://schemas.microsoft.com/office/drawing/2014/main" id="{13669B96-73C7-395C-015A-E045A1D58DE0}"/>
              </a:ext>
            </a:extLst>
          </p:cNvPr>
          <p:cNvSpPr/>
          <p:nvPr userDrawn="1"/>
        </p:nvSpPr>
        <p:spPr bwMode="auto">
          <a:xfrm>
            <a:off x="0" y="0"/>
            <a:ext cx="12192000" cy="93915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103372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ull_Bleed_Top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262943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_Banner_Gradien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0FB7F701-3CC1-EDD8-AADE-3A3CBCA02172}"/>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91867807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ull_Bleed_Bottom_Dark">
    <p:spTree>
      <p:nvGrpSpPr>
        <p:cNvPr id="1" name=""/>
        <p:cNvGrpSpPr/>
        <p:nvPr/>
      </p:nvGrpSpPr>
      <p:grpSpPr>
        <a:xfrm>
          <a:off x="0" y="0"/>
          <a:ext cx="0" cy="0"/>
          <a:chOff x="0" y="0"/>
          <a:chExt cx="0" cy="0"/>
        </a:xfrm>
      </p:grpSpPr>
      <p:sp>
        <p:nvSpPr>
          <p:cNvPr id="4" name="Freeform: Shape 21">
            <a:extLst>
              <a:ext uri="{FF2B5EF4-FFF2-40B4-BE49-F238E27FC236}">
                <a16:creationId xmlns:a16="http://schemas.microsoft.com/office/drawing/2014/main" id="{30D53D23-E1A4-6FA2-FF30-09086BE134AB}"/>
              </a:ext>
            </a:extLst>
          </p:cNvPr>
          <p:cNvSpPr/>
          <p:nvPr userDrawn="1"/>
        </p:nvSpPr>
        <p:spPr bwMode="auto">
          <a:xfrm>
            <a:off x="0" y="5194294"/>
            <a:ext cx="12192000" cy="166370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34892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ull_Bleed_Bottom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tx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3308147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alfHalf_Gradient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122E4458-4AC8-7D69-7115-4822065713E3}"/>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305973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HalfHalf_Image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30191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_Banner_Gradien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0FB7F701-3CC1-EDD8-AADE-3A3CBCA02172}"/>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428306131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op_Banner_Gradient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A545233-D204-DACA-8421-CEF519D4C890}"/>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9972510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op_Banner_NoTer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6" name="Text Placeholder 4">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31894120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op_Banner_NoTert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23883585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_Banner_Du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43481631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_Banner_Duo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5794067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_Banner_Gradient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A545233-D204-DACA-8421-CEF519D4C890}"/>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4191220635"/>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op_Banner_Tri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561E4086-C3F0-04BD-CE4A-65EB1DA1C581}"/>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1" name="Text Placeholder 4">
            <a:extLst>
              <a:ext uri="{FF2B5EF4-FFF2-40B4-BE49-F238E27FC236}">
                <a16:creationId xmlns:a16="http://schemas.microsoft.com/office/drawing/2014/main" id="{9D00ECC6-76CF-D27F-DB49-A2E81E9B8F3D}"/>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227874824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op_Banner_Trio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3B6BA2CD-7209-D2F7-020F-04D77E22A4BD}"/>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7" name="Text Placeholder 4">
            <a:extLst>
              <a:ext uri="{FF2B5EF4-FFF2-40B4-BE49-F238E27FC236}">
                <a16:creationId xmlns:a16="http://schemas.microsoft.com/office/drawing/2014/main" id="{E61F9E55-7626-7C64-5F31-BFA1F41275A7}"/>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34741014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874184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41778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2843451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3184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16686524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0962089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slide with graphic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57D6331F-1A15-46AA-A57A-300CC97487E4}"/>
              </a:ext>
            </a:extLst>
          </p:cNvPr>
          <p:cNvPicPr>
            <a:picLocks noChangeAspect="1"/>
          </p:cNvPicPr>
          <p:nvPr userDrawn="1"/>
        </p:nvPicPr>
        <p:blipFill>
          <a:blip r:embed="rId2"/>
          <a:stretch>
            <a:fillRect/>
          </a:stretch>
        </p:blipFill>
        <p:spPr>
          <a:xfrm>
            <a:off x="136885" y="159691"/>
            <a:ext cx="2635247" cy="871753"/>
          </a:xfrm>
          <a:prstGeom prst="rect">
            <a:avLst/>
          </a:prstGeom>
        </p:spPr>
      </p:pic>
      <p:grpSp>
        <p:nvGrpSpPr>
          <p:cNvPr id="37" name="Group 36">
            <a:extLst>
              <a:ext uri="{FF2B5EF4-FFF2-40B4-BE49-F238E27FC236}">
                <a16:creationId xmlns:a16="http://schemas.microsoft.com/office/drawing/2014/main" id="{695F69F3-6C65-4C67-BE9F-99EE13ECA942}"/>
              </a:ext>
            </a:extLst>
          </p:cNvPr>
          <p:cNvGrpSpPr/>
          <p:nvPr userDrawn="1"/>
        </p:nvGrpSpPr>
        <p:grpSpPr>
          <a:xfrm>
            <a:off x="6600946" y="859776"/>
            <a:ext cx="5148588" cy="5138447"/>
            <a:chOff x="6600946" y="859776"/>
            <a:chExt cx="5148588" cy="5138447"/>
          </a:xfrm>
        </p:grpSpPr>
        <p:grpSp>
          <p:nvGrpSpPr>
            <p:cNvPr id="38" name="Graphic 1">
              <a:extLst>
                <a:ext uri="{FF2B5EF4-FFF2-40B4-BE49-F238E27FC236}">
                  <a16:creationId xmlns:a16="http://schemas.microsoft.com/office/drawing/2014/main" id="{BC070748-6768-4FC2-A431-E43A99B45D24}"/>
                </a:ext>
              </a:extLst>
            </p:cNvPr>
            <p:cNvGrpSpPr/>
            <p:nvPr/>
          </p:nvGrpSpPr>
          <p:grpSpPr>
            <a:xfrm>
              <a:off x="6600946" y="859776"/>
              <a:ext cx="5148588" cy="5138447"/>
              <a:chOff x="5179859" y="2459480"/>
              <a:chExt cx="2077534" cy="2073148"/>
            </a:xfrm>
            <a:gradFill>
              <a:gsLst>
                <a:gs pos="100000">
                  <a:schemeClr val="tx2"/>
                </a:gs>
                <a:gs pos="23000">
                  <a:schemeClr val="accent5"/>
                </a:gs>
              </a:gsLst>
              <a:lin ang="10800000" scaled="1"/>
            </a:gradFill>
          </p:grpSpPr>
          <p:sp>
            <p:nvSpPr>
              <p:cNvPr id="48" name="Freeform: Shape 47">
                <a:extLst>
                  <a:ext uri="{FF2B5EF4-FFF2-40B4-BE49-F238E27FC236}">
                    <a16:creationId xmlns:a16="http://schemas.microsoft.com/office/drawing/2014/main" id="{04C016FB-6079-433E-86F5-11870BD5A617}"/>
                  </a:ext>
                </a:extLst>
              </p:cNvPr>
              <p:cNvSpPr/>
              <p:nvPr/>
            </p:nvSpPr>
            <p:spPr>
              <a:xfrm>
                <a:off x="5496685" y="2820334"/>
                <a:ext cx="1592644" cy="1616092"/>
              </a:xfrm>
              <a:custGeom>
                <a:avLst/>
                <a:gdLst>
                  <a:gd name="connsiteX0" fmla="*/ 1132079 w 1592644"/>
                  <a:gd name="connsiteY0" fmla="*/ 1616093 h 1616092"/>
                  <a:gd name="connsiteX1" fmla="*/ 1023494 w 1592644"/>
                  <a:gd name="connsiteY1" fmla="*/ 1573230 h 1616092"/>
                  <a:gd name="connsiteX2" fmla="*/ 50991 w 1592644"/>
                  <a:gd name="connsiteY2" fmla="*/ 665498 h 1616092"/>
                  <a:gd name="connsiteX3" fmla="*/ 4319 w 1592644"/>
                  <a:gd name="connsiteY3" fmla="*/ 513098 h 1616092"/>
                  <a:gd name="connsiteX4" fmla="*/ 112904 w 1592644"/>
                  <a:gd name="connsiteY4" fmla="*/ 395940 h 1616092"/>
                  <a:gd name="connsiteX5" fmla="*/ 1385444 w 1592644"/>
                  <a:gd name="connsiteY5" fmla="*/ 7320 h 1616092"/>
                  <a:gd name="connsiteX6" fmla="*/ 1541654 w 1592644"/>
                  <a:gd name="connsiteY6" fmla="*/ 43515 h 1616092"/>
                  <a:gd name="connsiteX7" fmla="*/ 1588326 w 1592644"/>
                  <a:gd name="connsiteY7" fmla="*/ 195915 h 1616092"/>
                  <a:gd name="connsiteX8" fmla="*/ 1289241 w 1592644"/>
                  <a:gd name="connsiteY8" fmla="*/ 1492268 h 1616092"/>
                  <a:gd name="connsiteX9" fmla="*/ 1180656 w 1592644"/>
                  <a:gd name="connsiteY9" fmla="*/ 1609425 h 1616092"/>
                  <a:gd name="connsiteX10" fmla="*/ 1132079 w 1592644"/>
                  <a:gd name="connsiteY10" fmla="*/ 1616093 h 1616092"/>
                  <a:gd name="connsiteX11" fmla="*/ 54801 w 1592644"/>
                  <a:gd name="connsiteY11" fmla="*/ 661688 h 1616092"/>
                  <a:gd name="connsiteX12" fmla="*/ 1028256 w 1592644"/>
                  <a:gd name="connsiteY12" fmla="*/ 1569420 h 1616092"/>
                  <a:gd name="connsiteX13" fmla="*/ 1178751 w 1592644"/>
                  <a:gd name="connsiteY13" fmla="*/ 1603710 h 1616092"/>
                  <a:gd name="connsiteX14" fmla="*/ 1284479 w 1592644"/>
                  <a:gd name="connsiteY14" fmla="*/ 1490363 h 1616092"/>
                  <a:gd name="connsiteX15" fmla="*/ 1583564 w 1592644"/>
                  <a:gd name="connsiteY15" fmla="*/ 194010 h 1616092"/>
                  <a:gd name="connsiteX16" fmla="*/ 1538796 w 1592644"/>
                  <a:gd name="connsiteY16" fmla="*/ 46373 h 1616092"/>
                  <a:gd name="connsiteX17" fmla="*/ 1388301 w 1592644"/>
                  <a:gd name="connsiteY17" fmla="*/ 12083 h 1616092"/>
                  <a:gd name="connsiteX18" fmla="*/ 114809 w 1592644"/>
                  <a:gd name="connsiteY18" fmla="*/ 401655 h 1616092"/>
                  <a:gd name="connsiteX19" fmla="*/ 9081 w 1592644"/>
                  <a:gd name="connsiteY19" fmla="*/ 515003 h 1616092"/>
                  <a:gd name="connsiteX20" fmla="*/ 54801 w 1592644"/>
                  <a:gd name="connsiteY20" fmla="*/ 661688 h 1616092"/>
                  <a:gd name="connsiteX21" fmla="*/ 54801 w 1592644"/>
                  <a:gd name="connsiteY21" fmla="*/ 661688 h 161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2644" h="1616092">
                    <a:moveTo>
                      <a:pt x="1132079" y="1616093"/>
                    </a:moveTo>
                    <a:cubicBezTo>
                      <a:pt x="1092074" y="1616093"/>
                      <a:pt x="1053974" y="1600853"/>
                      <a:pt x="1023494" y="1573230"/>
                    </a:cubicBezTo>
                    <a:lnTo>
                      <a:pt x="50991" y="665498"/>
                    </a:lnTo>
                    <a:cubicBezTo>
                      <a:pt x="9081" y="626445"/>
                      <a:pt x="-9016" y="569295"/>
                      <a:pt x="4319" y="513098"/>
                    </a:cubicBezTo>
                    <a:cubicBezTo>
                      <a:pt x="17654" y="456900"/>
                      <a:pt x="57659" y="413085"/>
                      <a:pt x="112904" y="395940"/>
                    </a:cubicBezTo>
                    <a:lnTo>
                      <a:pt x="1385444" y="7320"/>
                    </a:lnTo>
                    <a:cubicBezTo>
                      <a:pt x="1440689" y="-9825"/>
                      <a:pt x="1498791" y="3510"/>
                      <a:pt x="1541654" y="43515"/>
                    </a:cubicBezTo>
                    <a:cubicBezTo>
                      <a:pt x="1583564" y="82568"/>
                      <a:pt x="1601661" y="139718"/>
                      <a:pt x="1588326" y="195915"/>
                    </a:cubicBezTo>
                    <a:lnTo>
                      <a:pt x="1289241" y="1492268"/>
                    </a:lnTo>
                    <a:cubicBezTo>
                      <a:pt x="1275906" y="1548465"/>
                      <a:pt x="1235901" y="1592280"/>
                      <a:pt x="1180656" y="1609425"/>
                    </a:cubicBezTo>
                    <a:cubicBezTo>
                      <a:pt x="1163511" y="1614188"/>
                      <a:pt x="1148271" y="1616093"/>
                      <a:pt x="1132079" y="1616093"/>
                    </a:cubicBezTo>
                    <a:close/>
                    <a:moveTo>
                      <a:pt x="54801" y="661688"/>
                    </a:moveTo>
                    <a:lnTo>
                      <a:pt x="1028256" y="1569420"/>
                    </a:lnTo>
                    <a:cubicBezTo>
                      <a:pt x="1069214" y="1607520"/>
                      <a:pt x="1125411" y="1620855"/>
                      <a:pt x="1178751" y="1603710"/>
                    </a:cubicBezTo>
                    <a:cubicBezTo>
                      <a:pt x="1232091" y="1587518"/>
                      <a:pt x="1271144" y="1545608"/>
                      <a:pt x="1284479" y="1490363"/>
                    </a:cubicBezTo>
                    <a:lnTo>
                      <a:pt x="1583564" y="194010"/>
                    </a:lnTo>
                    <a:cubicBezTo>
                      <a:pt x="1595946" y="139718"/>
                      <a:pt x="1578801" y="84473"/>
                      <a:pt x="1538796" y="46373"/>
                    </a:cubicBezTo>
                    <a:cubicBezTo>
                      <a:pt x="1497839" y="8273"/>
                      <a:pt x="1441641" y="-5062"/>
                      <a:pt x="1388301" y="12083"/>
                    </a:cubicBezTo>
                    <a:lnTo>
                      <a:pt x="114809" y="401655"/>
                    </a:lnTo>
                    <a:cubicBezTo>
                      <a:pt x="61469" y="417848"/>
                      <a:pt x="22416" y="459758"/>
                      <a:pt x="9081" y="515003"/>
                    </a:cubicBezTo>
                    <a:cubicBezTo>
                      <a:pt x="-3301" y="568343"/>
                      <a:pt x="13844" y="623588"/>
                      <a:pt x="54801" y="661688"/>
                    </a:cubicBezTo>
                    <a:lnTo>
                      <a:pt x="54801" y="661688"/>
                    </a:lnTo>
                    <a:close/>
                  </a:path>
                </a:pathLst>
              </a:custGeom>
              <a:grpFill/>
              <a:ln w="9525" cap="flat">
                <a:noFill/>
                <a:prstDash val="solid"/>
                <a:miter/>
              </a:ln>
            </p:spPr>
            <p:txBody>
              <a:bodyPr rtlCol="0" anchor="ctr"/>
              <a:lstStyle/>
              <a:p>
                <a:endParaRPr lang="en-US" sz="1730"/>
              </a:p>
            </p:txBody>
          </p:sp>
          <p:sp>
            <p:nvSpPr>
              <p:cNvPr id="49" name="Freeform: Shape 48">
                <a:extLst>
                  <a:ext uri="{FF2B5EF4-FFF2-40B4-BE49-F238E27FC236}">
                    <a16:creationId xmlns:a16="http://schemas.microsoft.com/office/drawing/2014/main" id="{54102133-5E8C-4CB3-AC62-D09FC824D203}"/>
                  </a:ext>
                </a:extLst>
              </p:cNvPr>
              <p:cNvSpPr/>
              <p:nvPr/>
            </p:nvSpPr>
            <p:spPr>
              <a:xfrm>
                <a:off x="5569965" y="3033304"/>
                <a:ext cx="1648967" cy="1494562"/>
              </a:xfrm>
              <a:custGeom>
                <a:avLst/>
                <a:gdLst>
                  <a:gd name="connsiteX0" fmla="*/ 784479 w 1648967"/>
                  <a:gd name="connsiteY0" fmla="*/ 1494562 h 1494562"/>
                  <a:gd name="connsiteX1" fmla="*/ 778764 w 1648967"/>
                  <a:gd name="connsiteY1" fmla="*/ 1494562 h 1494562"/>
                  <a:gd name="connsiteX2" fmla="*/ 643509 w 1648967"/>
                  <a:gd name="connsiteY2" fmla="*/ 1409790 h 1494562"/>
                  <a:gd name="connsiteX3" fmla="*/ 18669 w 1648967"/>
                  <a:gd name="connsiteY3" fmla="*/ 235357 h 1494562"/>
                  <a:gd name="connsiteX4" fmla="*/ 18669 w 1648967"/>
                  <a:gd name="connsiteY4" fmla="*/ 235357 h 1494562"/>
                  <a:gd name="connsiteX5" fmla="*/ 24384 w 1648967"/>
                  <a:gd name="connsiteY5" fmla="*/ 75337 h 1494562"/>
                  <a:gd name="connsiteX6" fmla="*/ 165354 w 1648967"/>
                  <a:gd name="connsiteY6" fmla="*/ 90 h 1494562"/>
                  <a:gd name="connsiteX7" fmla="*/ 1495044 w 1648967"/>
                  <a:gd name="connsiteY7" fmla="*/ 46762 h 1494562"/>
                  <a:gd name="connsiteX8" fmla="*/ 1630299 w 1648967"/>
                  <a:gd name="connsiteY8" fmla="*/ 131535 h 1494562"/>
                  <a:gd name="connsiteX9" fmla="*/ 1624584 w 1648967"/>
                  <a:gd name="connsiteY9" fmla="*/ 291555 h 1494562"/>
                  <a:gd name="connsiteX10" fmla="*/ 919734 w 1648967"/>
                  <a:gd name="connsiteY10" fmla="*/ 1419315 h 1494562"/>
                  <a:gd name="connsiteX11" fmla="*/ 784479 w 1648967"/>
                  <a:gd name="connsiteY11" fmla="*/ 1494562 h 1494562"/>
                  <a:gd name="connsiteX12" fmla="*/ 158686 w 1648967"/>
                  <a:gd name="connsiteY12" fmla="*/ 5805 h 1494562"/>
                  <a:gd name="connsiteX13" fmla="*/ 28194 w 1648967"/>
                  <a:gd name="connsiteY13" fmla="*/ 78195 h 1494562"/>
                  <a:gd name="connsiteX14" fmla="*/ 22479 w 1648967"/>
                  <a:gd name="connsiteY14" fmla="*/ 232500 h 1494562"/>
                  <a:gd name="connsiteX15" fmla="*/ 22479 w 1648967"/>
                  <a:gd name="connsiteY15" fmla="*/ 232500 h 1494562"/>
                  <a:gd name="connsiteX16" fmla="*/ 647319 w 1648967"/>
                  <a:gd name="connsiteY16" fmla="*/ 1406932 h 1494562"/>
                  <a:gd name="connsiteX17" fmla="*/ 777812 w 1648967"/>
                  <a:gd name="connsiteY17" fmla="*/ 1488847 h 1494562"/>
                  <a:gd name="connsiteX18" fmla="*/ 914019 w 1648967"/>
                  <a:gd name="connsiteY18" fmla="*/ 1416457 h 1494562"/>
                  <a:gd name="connsiteX19" fmla="*/ 1618869 w 1648967"/>
                  <a:gd name="connsiteY19" fmla="*/ 288697 h 1494562"/>
                  <a:gd name="connsiteX20" fmla="*/ 1624584 w 1648967"/>
                  <a:gd name="connsiteY20" fmla="*/ 134392 h 1494562"/>
                  <a:gd name="connsiteX21" fmla="*/ 1494092 w 1648967"/>
                  <a:gd name="connsiteY21" fmla="*/ 52477 h 1494562"/>
                  <a:gd name="connsiteX22" fmla="*/ 164402 w 1648967"/>
                  <a:gd name="connsiteY22" fmla="*/ 5805 h 1494562"/>
                  <a:gd name="connsiteX23" fmla="*/ 158686 w 1648967"/>
                  <a:gd name="connsiteY23" fmla="*/ 5805 h 14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8967" h="1494562">
                    <a:moveTo>
                      <a:pt x="784479" y="1494562"/>
                    </a:moveTo>
                    <a:cubicBezTo>
                      <a:pt x="782574" y="1494562"/>
                      <a:pt x="780669" y="1494562"/>
                      <a:pt x="778764" y="1494562"/>
                    </a:cubicBezTo>
                    <a:cubicBezTo>
                      <a:pt x="720662" y="1492657"/>
                      <a:pt x="670179" y="1461225"/>
                      <a:pt x="643509" y="1409790"/>
                    </a:cubicBezTo>
                    <a:lnTo>
                      <a:pt x="18669" y="235357"/>
                    </a:lnTo>
                    <a:lnTo>
                      <a:pt x="18669" y="235357"/>
                    </a:lnTo>
                    <a:cubicBezTo>
                      <a:pt x="-8001" y="183922"/>
                      <a:pt x="-6096" y="124867"/>
                      <a:pt x="24384" y="75337"/>
                    </a:cubicBezTo>
                    <a:cubicBezTo>
                      <a:pt x="54864" y="26760"/>
                      <a:pt x="107252" y="-1815"/>
                      <a:pt x="165354" y="90"/>
                    </a:cubicBezTo>
                    <a:lnTo>
                      <a:pt x="1495044" y="46762"/>
                    </a:lnTo>
                    <a:cubicBezTo>
                      <a:pt x="1553147" y="48667"/>
                      <a:pt x="1603629" y="80100"/>
                      <a:pt x="1630299" y="131535"/>
                    </a:cubicBezTo>
                    <a:cubicBezTo>
                      <a:pt x="1656969" y="182970"/>
                      <a:pt x="1655064" y="242025"/>
                      <a:pt x="1624584" y="291555"/>
                    </a:cubicBezTo>
                    <a:lnTo>
                      <a:pt x="919734" y="1419315"/>
                    </a:lnTo>
                    <a:cubicBezTo>
                      <a:pt x="890206" y="1466940"/>
                      <a:pt x="839724" y="1494562"/>
                      <a:pt x="784479" y="1494562"/>
                    </a:cubicBezTo>
                    <a:close/>
                    <a:moveTo>
                      <a:pt x="158686" y="5805"/>
                    </a:moveTo>
                    <a:cubicBezTo>
                      <a:pt x="105347" y="5805"/>
                      <a:pt x="56769" y="32475"/>
                      <a:pt x="28194" y="78195"/>
                    </a:cubicBezTo>
                    <a:cubicBezTo>
                      <a:pt x="-1334" y="125820"/>
                      <a:pt x="-3239" y="182970"/>
                      <a:pt x="22479" y="232500"/>
                    </a:cubicBezTo>
                    <a:lnTo>
                      <a:pt x="22479" y="232500"/>
                    </a:lnTo>
                    <a:lnTo>
                      <a:pt x="647319" y="1406932"/>
                    </a:lnTo>
                    <a:cubicBezTo>
                      <a:pt x="673989" y="1456462"/>
                      <a:pt x="722567" y="1486942"/>
                      <a:pt x="777812" y="1488847"/>
                    </a:cubicBezTo>
                    <a:cubicBezTo>
                      <a:pt x="834009" y="1490752"/>
                      <a:pt x="884492" y="1464082"/>
                      <a:pt x="914019" y="1416457"/>
                    </a:cubicBezTo>
                    <a:lnTo>
                      <a:pt x="1618869" y="288697"/>
                    </a:lnTo>
                    <a:cubicBezTo>
                      <a:pt x="1648397" y="241072"/>
                      <a:pt x="1650302" y="183922"/>
                      <a:pt x="1624584" y="134392"/>
                    </a:cubicBezTo>
                    <a:cubicBezTo>
                      <a:pt x="1597914" y="84862"/>
                      <a:pt x="1549337" y="54382"/>
                      <a:pt x="1494092" y="52477"/>
                    </a:cubicBezTo>
                    <a:lnTo>
                      <a:pt x="164402" y="5805"/>
                    </a:lnTo>
                    <a:cubicBezTo>
                      <a:pt x="162497" y="5805"/>
                      <a:pt x="160592" y="5805"/>
                      <a:pt x="158686" y="5805"/>
                    </a:cubicBezTo>
                    <a:close/>
                  </a:path>
                </a:pathLst>
              </a:custGeom>
              <a:grpFill/>
              <a:ln w="9525" cap="flat">
                <a:noFill/>
                <a:prstDash val="solid"/>
                <a:miter/>
              </a:ln>
            </p:spPr>
            <p:txBody>
              <a:bodyPr rtlCol="0" anchor="ctr"/>
              <a:lstStyle/>
              <a:p>
                <a:endParaRPr lang="en-US" sz="1730"/>
              </a:p>
            </p:txBody>
          </p:sp>
          <p:sp>
            <p:nvSpPr>
              <p:cNvPr id="50" name="Freeform: Shape 49">
                <a:extLst>
                  <a:ext uri="{FF2B5EF4-FFF2-40B4-BE49-F238E27FC236}">
                    <a16:creationId xmlns:a16="http://schemas.microsoft.com/office/drawing/2014/main" id="{0BCE9930-CFBB-4646-901A-120648FA1B9E}"/>
                  </a:ext>
                </a:extLst>
              </p:cNvPr>
              <p:cNvSpPr/>
              <p:nvPr/>
            </p:nvSpPr>
            <p:spPr>
              <a:xfrm>
                <a:off x="5695335" y="2890984"/>
                <a:ext cx="1562058" cy="1634024"/>
              </a:xfrm>
              <a:custGeom>
                <a:avLst/>
                <a:gdLst>
                  <a:gd name="connsiteX0" fmla="*/ 368597 w 1562058"/>
                  <a:gd name="connsiteY0" fmla="*/ 1634025 h 1634024"/>
                  <a:gd name="connsiteX1" fmla="*/ 310494 w 1562058"/>
                  <a:gd name="connsiteY1" fmla="*/ 1623547 h 1634024"/>
                  <a:gd name="connsiteX2" fmla="*/ 209529 w 1562058"/>
                  <a:gd name="connsiteY2" fmla="*/ 1499722 h 1634024"/>
                  <a:gd name="connsiteX3" fmla="*/ 1884 w 1562058"/>
                  <a:gd name="connsiteY3" fmla="*/ 185272 h 1634024"/>
                  <a:gd name="connsiteX4" fmla="*/ 59034 w 1562058"/>
                  <a:gd name="connsiteY4" fmla="*/ 35730 h 1634024"/>
                  <a:gd name="connsiteX5" fmla="*/ 217149 w 1562058"/>
                  <a:gd name="connsiteY5" fmla="*/ 10965 h 1634024"/>
                  <a:gd name="connsiteX6" fmla="*/ 1459210 w 1562058"/>
                  <a:gd name="connsiteY6" fmla="*/ 488167 h 1634024"/>
                  <a:gd name="connsiteX7" fmla="*/ 1560174 w 1562058"/>
                  <a:gd name="connsiteY7" fmla="*/ 611992 h 1634024"/>
                  <a:gd name="connsiteX8" fmla="*/ 1503024 w 1562058"/>
                  <a:gd name="connsiteY8" fmla="*/ 761535 h 1634024"/>
                  <a:gd name="connsiteX9" fmla="*/ 469562 w 1562058"/>
                  <a:gd name="connsiteY9" fmla="*/ 1598782 h 1634024"/>
                  <a:gd name="connsiteX10" fmla="*/ 368597 w 1562058"/>
                  <a:gd name="connsiteY10" fmla="*/ 1634025 h 1634024"/>
                  <a:gd name="connsiteX11" fmla="*/ 159047 w 1562058"/>
                  <a:gd name="connsiteY11" fmla="*/ 5250 h 1634024"/>
                  <a:gd name="connsiteX12" fmla="*/ 62844 w 1562058"/>
                  <a:gd name="connsiteY12" fmla="*/ 39540 h 1634024"/>
                  <a:gd name="connsiteX13" fmla="*/ 7599 w 1562058"/>
                  <a:gd name="connsiteY13" fmla="*/ 183367 h 1634024"/>
                  <a:gd name="connsiteX14" fmla="*/ 215244 w 1562058"/>
                  <a:gd name="connsiteY14" fmla="*/ 1497818 h 1634024"/>
                  <a:gd name="connsiteX15" fmla="*/ 312399 w 1562058"/>
                  <a:gd name="connsiteY15" fmla="*/ 1617832 h 1634024"/>
                  <a:gd name="connsiteX16" fmla="*/ 464799 w 1562058"/>
                  <a:gd name="connsiteY16" fmla="*/ 1594020 h 1634024"/>
                  <a:gd name="connsiteX17" fmla="*/ 1498262 w 1562058"/>
                  <a:gd name="connsiteY17" fmla="*/ 756772 h 1634024"/>
                  <a:gd name="connsiteX18" fmla="*/ 1553507 w 1562058"/>
                  <a:gd name="connsiteY18" fmla="*/ 612945 h 1634024"/>
                  <a:gd name="connsiteX19" fmla="*/ 1456352 w 1562058"/>
                  <a:gd name="connsiteY19" fmla="*/ 492930 h 1634024"/>
                  <a:gd name="connsiteX20" fmla="*/ 215244 w 1562058"/>
                  <a:gd name="connsiteY20" fmla="*/ 15727 h 1634024"/>
                  <a:gd name="connsiteX21" fmla="*/ 159047 w 1562058"/>
                  <a:gd name="connsiteY21" fmla="*/ 5250 h 1634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2058" h="1634024">
                    <a:moveTo>
                      <a:pt x="368597" y="1634025"/>
                    </a:moveTo>
                    <a:cubicBezTo>
                      <a:pt x="349547" y="1634025"/>
                      <a:pt x="329544" y="1630215"/>
                      <a:pt x="310494" y="1623547"/>
                    </a:cubicBezTo>
                    <a:cubicBezTo>
                      <a:pt x="256202" y="1602593"/>
                      <a:pt x="219054" y="1556872"/>
                      <a:pt x="209529" y="1499722"/>
                    </a:cubicBezTo>
                    <a:lnTo>
                      <a:pt x="1884" y="185272"/>
                    </a:lnTo>
                    <a:cubicBezTo>
                      <a:pt x="-6688" y="128122"/>
                      <a:pt x="14267" y="72877"/>
                      <a:pt x="59034" y="35730"/>
                    </a:cubicBezTo>
                    <a:cubicBezTo>
                      <a:pt x="103802" y="-465"/>
                      <a:pt x="162857" y="-9990"/>
                      <a:pt x="217149" y="10965"/>
                    </a:cubicBezTo>
                    <a:lnTo>
                      <a:pt x="1459210" y="488167"/>
                    </a:lnTo>
                    <a:cubicBezTo>
                      <a:pt x="1513502" y="509122"/>
                      <a:pt x="1550649" y="554842"/>
                      <a:pt x="1560174" y="611992"/>
                    </a:cubicBezTo>
                    <a:cubicBezTo>
                      <a:pt x="1568747" y="669142"/>
                      <a:pt x="1547792" y="724387"/>
                      <a:pt x="1503024" y="761535"/>
                    </a:cubicBezTo>
                    <a:lnTo>
                      <a:pt x="469562" y="1598782"/>
                    </a:lnTo>
                    <a:cubicBezTo>
                      <a:pt x="439082" y="1621643"/>
                      <a:pt x="404792" y="1634025"/>
                      <a:pt x="368597" y="1634025"/>
                    </a:cubicBezTo>
                    <a:close/>
                    <a:moveTo>
                      <a:pt x="159047" y="5250"/>
                    </a:moveTo>
                    <a:cubicBezTo>
                      <a:pt x="124757" y="5250"/>
                      <a:pt x="90467" y="16680"/>
                      <a:pt x="62844" y="39540"/>
                    </a:cubicBezTo>
                    <a:cubicBezTo>
                      <a:pt x="19029" y="74782"/>
                      <a:pt x="-973" y="128122"/>
                      <a:pt x="7599" y="183367"/>
                    </a:cubicBezTo>
                    <a:lnTo>
                      <a:pt x="215244" y="1497818"/>
                    </a:lnTo>
                    <a:cubicBezTo>
                      <a:pt x="223817" y="1553062"/>
                      <a:pt x="260012" y="1597830"/>
                      <a:pt x="312399" y="1617832"/>
                    </a:cubicBezTo>
                    <a:cubicBezTo>
                      <a:pt x="364787" y="1637835"/>
                      <a:pt x="421937" y="1629262"/>
                      <a:pt x="464799" y="1594020"/>
                    </a:cubicBezTo>
                    <a:lnTo>
                      <a:pt x="1498262" y="756772"/>
                    </a:lnTo>
                    <a:cubicBezTo>
                      <a:pt x="1542077" y="721530"/>
                      <a:pt x="1562080" y="668190"/>
                      <a:pt x="1553507" y="612945"/>
                    </a:cubicBezTo>
                    <a:cubicBezTo>
                      <a:pt x="1544935" y="557700"/>
                      <a:pt x="1508740" y="512932"/>
                      <a:pt x="1456352" y="492930"/>
                    </a:cubicBezTo>
                    <a:lnTo>
                      <a:pt x="215244" y="15727"/>
                    </a:lnTo>
                    <a:cubicBezTo>
                      <a:pt x="197147" y="9060"/>
                      <a:pt x="178097" y="5250"/>
                      <a:pt x="159047" y="5250"/>
                    </a:cubicBezTo>
                    <a:close/>
                  </a:path>
                </a:pathLst>
              </a:custGeom>
              <a:grpFill/>
              <a:ln w="9525" cap="flat">
                <a:noFill/>
                <a:prstDash val="solid"/>
                <a:miter/>
              </a:ln>
            </p:spPr>
            <p:txBody>
              <a:bodyPr rtlCol="0" anchor="ctr"/>
              <a:lstStyle/>
              <a:p>
                <a:endParaRPr lang="en-US" sz="1730"/>
              </a:p>
            </p:txBody>
          </p:sp>
          <p:sp>
            <p:nvSpPr>
              <p:cNvPr id="51" name="Freeform: Shape 50">
                <a:extLst>
                  <a:ext uri="{FF2B5EF4-FFF2-40B4-BE49-F238E27FC236}">
                    <a16:creationId xmlns:a16="http://schemas.microsoft.com/office/drawing/2014/main" id="{8C60FDBA-7C23-4806-88B5-29E31C6583DC}"/>
                  </a:ext>
                </a:extLst>
              </p:cNvPr>
              <p:cNvSpPr/>
              <p:nvPr/>
            </p:nvSpPr>
            <p:spPr>
              <a:xfrm>
                <a:off x="5630741" y="2796715"/>
                <a:ext cx="1568373" cy="1631138"/>
              </a:xfrm>
              <a:custGeom>
                <a:avLst/>
                <a:gdLst>
                  <a:gd name="connsiteX0" fmla="*/ 158870 w 1568373"/>
                  <a:gd name="connsiteY0" fmla="*/ 1631139 h 1631138"/>
                  <a:gd name="connsiteX1" fmla="*/ 56953 w 1568373"/>
                  <a:gd name="connsiteY1" fmla="*/ 1593991 h 1631138"/>
                  <a:gd name="connsiteX2" fmla="*/ 2660 w 1568373"/>
                  <a:gd name="connsiteY2" fmla="*/ 1443496 h 1631138"/>
                  <a:gd name="connsiteX3" fmla="*/ 232213 w 1568373"/>
                  <a:gd name="connsiteY3" fmla="*/ 132856 h 1631138"/>
                  <a:gd name="connsiteX4" fmla="*/ 335083 w 1568373"/>
                  <a:gd name="connsiteY4" fmla="*/ 9984 h 1631138"/>
                  <a:gd name="connsiteX5" fmla="*/ 492246 w 1568373"/>
                  <a:gd name="connsiteY5" fmla="*/ 37606 h 1631138"/>
                  <a:gd name="connsiteX6" fmla="*/ 1511421 w 1568373"/>
                  <a:gd name="connsiteY6" fmla="*/ 892951 h 1631138"/>
                  <a:gd name="connsiteX7" fmla="*/ 1565713 w 1568373"/>
                  <a:gd name="connsiteY7" fmla="*/ 1043446 h 1631138"/>
                  <a:gd name="connsiteX8" fmla="*/ 1462843 w 1568373"/>
                  <a:gd name="connsiteY8" fmla="*/ 1166319 h 1631138"/>
                  <a:gd name="connsiteX9" fmla="*/ 214116 w 1568373"/>
                  <a:gd name="connsiteY9" fmla="*/ 1620662 h 1631138"/>
                  <a:gd name="connsiteX10" fmla="*/ 158870 w 1568373"/>
                  <a:gd name="connsiteY10" fmla="*/ 1631139 h 1631138"/>
                  <a:gd name="connsiteX11" fmla="*/ 390328 w 1568373"/>
                  <a:gd name="connsiteY11" fmla="*/ 6174 h 1631138"/>
                  <a:gd name="connsiteX12" fmla="*/ 336988 w 1568373"/>
                  <a:gd name="connsiteY12" fmla="*/ 15699 h 1631138"/>
                  <a:gd name="connsiteX13" fmla="*/ 237928 w 1568373"/>
                  <a:gd name="connsiteY13" fmla="*/ 133809 h 1631138"/>
                  <a:gd name="connsiteX14" fmla="*/ 7423 w 1568373"/>
                  <a:gd name="connsiteY14" fmla="*/ 1444449 h 1631138"/>
                  <a:gd name="connsiteX15" fmla="*/ 59810 w 1568373"/>
                  <a:gd name="connsiteY15" fmla="*/ 1589229 h 1631138"/>
                  <a:gd name="connsiteX16" fmla="*/ 212210 w 1568373"/>
                  <a:gd name="connsiteY16" fmla="*/ 1615899 h 1631138"/>
                  <a:gd name="connsiteX17" fmla="*/ 1461891 w 1568373"/>
                  <a:gd name="connsiteY17" fmla="*/ 1160604 h 1631138"/>
                  <a:gd name="connsiteX18" fmla="*/ 1560951 w 1568373"/>
                  <a:gd name="connsiteY18" fmla="*/ 1042494 h 1631138"/>
                  <a:gd name="connsiteX19" fmla="*/ 1508563 w 1568373"/>
                  <a:gd name="connsiteY19" fmla="*/ 897714 h 1631138"/>
                  <a:gd name="connsiteX20" fmla="*/ 489388 w 1568373"/>
                  <a:gd name="connsiteY20" fmla="*/ 42369 h 1631138"/>
                  <a:gd name="connsiteX21" fmla="*/ 390328 w 1568373"/>
                  <a:gd name="connsiteY21" fmla="*/ 6174 h 163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8373" h="1631138">
                    <a:moveTo>
                      <a:pt x="158870" y="1631139"/>
                    </a:moveTo>
                    <a:cubicBezTo>
                      <a:pt x="121723" y="1631139"/>
                      <a:pt x="86481" y="1617804"/>
                      <a:pt x="56953" y="1593991"/>
                    </a:cubicBezTo>
                    <a:cubicBezTo>
                      <a:pt x="13138" y="1556844"/>
                      <a:pt x="-7817" y="1500646"/>
                      <a:pt x="2660" y="1443496"/>
                    </a:cubicBezTo>
                    <a:lnTo>
                      <a:pt x="232213" y="132856"/>
                    </a:lnTo>
                    <a:cubicBezTo>
                      <a:pt x="242691" y="75706"/>
                      <a:pt x="280791" y="29986"/>
                      <a:pt x="335083" y="9984"/>
                    </a:cubicBezTo>
                    <a:cubicBezTo>
                      <a:pt x="389375" y="-10019"/>
                      <a:pt x="448431" y="459"/>
                      <a:pt x="492246" y="37606"/>
                    </a:cubicBezTo>
                    <a:lnTo>
                      <a:pt x="1511421" y="892951"/>
                    </a:lnTo>
                    <a:cubicBezTo>
                      <a:pt x="1555236" y="930099"/>
                      <a:pt x="1576191" y="986296"/>
                      <a:pt x="1565713" y="1043446"/>
                    </a:cubicBezTo>
                    <a:cubicBezTo>
                      <a:pt x="1555236" y="1100596"/>
                      <a:pt x="1517136" y="1146316"/>
                      <a:pt x="1462843" y="1166319"/>
                    </a:cubicBezTo>
                    <a:lnTo>
                      <a:pt x="214116" y="1620662"/>
                    </a:lnTo>
                    <a:cubicBezTo>
                      <a:pt x="196018" y="1627329"/>
                      <a:pt x="176968" y="1631139"/>
                      <a:pt x="158870" y="1631139"/>
                    </a:cubicBezTo>
                    <a:close/>
                    <a:moveTo>
                      <a:pt x="390328" y="6174"/>
                    </a:moveTo>
                    <a:cubicBezTo>
                      <a:pt x="372231" y="6174"/>
                      <a:pt x="354133" y="9031"/>
                      <a:pt x="336988" y="15699"/>
                    </a:cubicBezTo>
                    <a:cubicBezTo>
                      <a:pt x="284600" y="34749"/>
                      <a:pt x="247453" y="78564"/>
                      <a:pt x="237928" y="133809"/>
                    </a:cubicBezTo>
                    <a:lnTo>
                      <a:pt x="7423" y="1444449"/>
                    </a:lnTo>
                    <a:cubicBezTo>
                      <a:pt x="-2102" y="1499694"/>
                      <a:pt x="17900" y="1553987"/>
                      <a:pt x="59810" y="1589229"/>
                    </a:cubicBezTo>
                    <a:cubicBezTo>
                      <a:pt x="102673" y="1625424"/>
                      <a:pt x="159823" y="1634949"/>
                      <a:pt x="212210" y="1615899"/>
                    </a:cubicBezTo>
                    <a:lnTo>
                      <a:pt x="1461891" y="1160604"/>
                    </a:lnTo>
                    <a:cubicBezTo>
                      <a:pt x="1514278" y="1141554"/>
                      <a:pt x="1551426" y="1097739"/>
                      <a:pt x="1560951" y="1042494"/>
                    </a:cubicBezTo>
                    <a:cubicBezTo>
                      <a:pt x="1570476" y="987249"/>
                      <a:pt x="1550473" y="932956"/>
                      <a:pt x="1508563" y="897714"/>
                    </a:cubicBezTo>
                    <a:lnTo>
                      <a:pt x="489388" y="42369"/>
                    </a:lnTo>
                    <a:cubicBezTo>
                      <a:pt x="460813" y="18556"/>
                      <a:pt x="426523" y="6174"/>
                      <a:pt x="390328" y="6174"/>
                    </a:cubicBezTo>
                    <a:close/>
                  </a:path>
                </a:pathLst>
              </a:custGeom>
              <a:grpFill/>
              <a:ln w="9525" cap="flat">
                <a:noFill/>
                <a:prstDash val="solid"/>
                <a:miter/>
              </a:ln>
            </p:spPr>
            <p:txBody>
              <a:bodyPr rtlCol="0" anchor="ctr"/>
              <a:lstStyle/>
              <a:p>
                <a:endParaRPr lang="en-US" sz="1730"/>
              </a:p>
            </p:txBody>
          </p:sp>
          <p:sp>
            <p:nvSpPr>
              <p:cNvPr id="52" name="Freeform: Shape 51">
                <a:extLst>
                  <a:ext uri="{FF2B5EF4-FFF2-40B4-BE49-F238E27FC236}">
                    <a16:creationId xmlns:a16="http://schemas.microsoft.com/office/drawing/2014/main" id="{7DC83954-308D-4CAC-ADE0-92CE37FA6207}"/>
                  </a:ext>
                </a:extLst>
              </p:cNvPr>
              <p:cNvSpPr/>
              <p:nvPr/>
            </p:nvSpPr>
            <p:spPr>
              <a:xfrm>
                <a:off x="5402873" y="2763813"/>
                <a:ext cx="1649777" cy="1482113"/>
              </a:xfrm>
              <a:custGeom>
                <a:avLst/>
                <a:gdLst>
                  <a:gd name="connsiteX0" fmla="*/ 160044 w 1649777"/>
                  <a:gd name="connsiteY0" fmla="*/ 1482113 h 1482113"/>
                  <a:gd name="connsiteX1" fmla="*/ 22884 w 1649777"/>
                  <a:gd name="connsiteY1" fmla="*/ 1404961 h 1482113"/>
                  <a:gd name="connsiteX2" fmla="*/ 20026 w 1649777"/>
                  <a:gd name="connsiteY2" fmla="*/ 1244941 h 1482113"/>
                  <a:gd name="connsiteX3" fmla="*/ 664869 w 1649777"/>
                  <a:gd name="connsiteY3" fmla="*/ 81938 h 1482113"/>
                  <a:gd name="connsiteX4" fmla="*/ 667726 w 1649777"/>
                  <a:gd name="connsiteY4" fmla="*/ 82891 h 1482113"/>
                  <a:gd name="connsiteX5" fmla="*/ 664869 w 1649777"/>
                  <a:gd name="connsiteY5" fmla="*/ 81938 h 1482113"/>
                  <a:gd name="connsiteX6" fmla="*/ 802029 w 1649777"/>
                  <a:gd name="connsiteY6" fmla="*/ 23 h 1482113"/>
                  <a:gd name="connsiteX7" fmla="*/ 942046 w 1649777"/>
                  <a:gd name="connsiteY7" fmla="*/ 77176 h 1482113"/>
                  <a:gd name="connsiteX8" fmla="*/ 1626894 w 1649777"/>
                  <a:gd name="connsiteY8" fmla="*/ 1217318 h 1482113"/>
                  <a:gd name="connsiteX9" fmla="*/ 1629751 w 1649777"/>
                  <a:gd name="connsiteY9" fmla="*/ 1377338 h 1482113"/>
                  <a:gd name="connsiteX10" fmla="*/ 1492591 w 1649777"/>
                  <a:gd name="connsiteY10" fmla="*/ 1459253 h 1482113"/>
                  <a:gd name="connsiteX11" fmla="*/ 161949 w 1649777"/>
                  <a:gd name="connsiteY11" fmla="*/ 1482113 h 1482113"/>
                  <a:gd name="connsiteX12" fmla="*/ 160044 w 1649777"/>
                  <a:gd name="connsiteY12" fmla="*/ 1482113 h 1482113"/>
                  <a:gd name="connsiteX13" fmla="*/ 804886 w 1649777"/>
                  <a:gd name="connsiteY13" fmla="*/ 4786 h 1482113"/>
                  <a:gd name="connsiteX14" fmla="*/ 802029 w 1649777"/>
                  <a:gd name="connsiteY14" fmla="*/ 4786 h 1482113"/>
                  <a:gd name="connsiteX15" fmla="*/ 669631 w 1649777"/>
                  <a:gd name="connsiteY15" fmla="*/ 83843 h 1482113"/>
                  <a:gd name="connsiteX16" fmla="*/ 24789 w 1649777"/>
                  <a:gd name="connsiteY16" fmla="*/ 1247798 h 1482113"/>
                  <a:gd name="connsiteX17" fmla="*/ 27646 w 1649777"/>
                  <a:gd name="connsiteY17" fmla="*/ 1402103 h 1482113"/>
                  <a:gd name="connsiteX18" fmla="*/ 162901 w 1649777"/>
                  <a:gd name="connsiteY18" fmla="*/ 1477351 h 1482113"/>
                  <a:gd name="connsiteX19" fmla="*/ 1493544 w 1649777"/>
                  <a:gd name="connsiteY19" fmla="*/ 1454491 h 1482113"/>
                  <a:gd name="connsiteX20" fmla="*/ 1625941 w 1649777"/>
                  <a:gd name="connsiteY20" fmla="*/ 1375433 h 1482113"/>
                  <a:gd name="connsiteX21" fmla="*/ 1623084 w 1649777"/>
                  <a:gd name="connsiteY21" fmla="*/ 1221128 h 1482113"/>
                  <a:gd name="connsiteX22" fmla="*/ 937284 w 1649777"/>
                  <a:gd name="connsiteY22" fmla="*/ 79081 h 1482113"/>
                  <a:gd name="connsiteX23" fmla="*/ 804886 w 1649777"/>
                  <a:gd name="connsiteY23" fmla="*/ 4786 h 148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9777" h="1482113">
                    <a:moveTo>
                      <a:pt x="160044" y="1482113"/>
                    </a:moveTo>
                    <a:cubicBezTo>
                      <a:pt x="103846" y="1482113"/>
                      <a:pt x="52411" y="1453538"/>
                      <a:pt x="22884" y="1404961"/>
                    </a:cubicBezTo>
                    <a:cubicBezTo>
                      <a:pt x="-6644" y="1355431"/>
                      <a:pt x="-7596" y="1295423"/>
                      <a:pt x="20026" y="1244941"/>
                    </a:cubicBezTo>
                    <a:lnTo>
                      <a:pt x="664869" y="81938"/>
                    </a:lnTo>
                    <a:lnTo>
                      <a:pt x="667726" y="82891"/>
                    </a:lnTo>
                    <a:lnTo>
                      <a:pt x="664869" y="81938"/>
                    </a:lnTo>
                    <a:cubicBezTo>
                      <a:pt x="692491" y="31456"/>
                      <a:pt x="743926" y="976"/>
                      <a:pt x="802029" y="23"/>
                    </a:cubicBezTo>
                    <a:cubicBezTo>
                      <a:pt x="859179" y="-929"/>
                      <a:pt x="912519" y="27646"/>
                      <a:pt x="942046" y="77176"/>
                    </a:cubicBezTo>
                    <a:lnTo>
                      <a:pt x="1626894" y="1217318"/>
                    </a:lnTo>
                    <a:cubicBezTo>
                      <a:pt x="1656421" y="1266848"/>
                      <a:pt x="1657374" y="1326856"/>
                      <a:pt x="1629751" y="1377338"/>
                    </a:cubicBezTo>
                    <a:cubicBezTo>
                      <a:pt x="1602129" y="1427821"/>
                      <a:pt x="1550694" y="1458301"/>
                      <a:pt x="1492591" y="1459253"/>
                    </a:cubicBezTo>
                    <a:lnTo>
                      <a:pt x="161949" y="1482113"/>
                    </a:lnTo>
                    <a:cubicBezTo>
                      <a:pt x="161949" y="1482113"/>
                      <a:pt x="160996" y="1482113"/>
                      <a:pt x="160044" y="1482113"/>
                    </a:cubicBezTo>
                    <a:close/>
                    <a:moveTo>
                      <a:pt x="804886" y="4786"/>
                    </a:moveTo>
                    <a:cubicBezTo>
                      <a:pt x="803934" y="4786"/>
                      <a:pt x="802981" y="4786"/>
                      <a:pt x="802029" y="4786"/>
                    </a:cubicBezTo>
                    <a:cubicBezTo>
                      <a:pt x="745831" y="5738"/>
                      <a:pt x="697254" y="35266"/>
                      <a:pt x="669631" y="83843"/>
                    </a:cubicBezTo>
                    <a:lnTo>
                      <a:pt x="24789" y="1247798"/>
                    </a:lnTo>
                    <a:cubicBezTo>
                      <a:pt x="-1881" y="1296376"/>
                      <a:pt x="-929" y="1354478"/>
                      <a:pt x="27646" y="1402103"/>
                    </a:cubicBezTo>
                    <a:cubicBezTo>
                      <a:pt x="56221" y="1449728"/>
                      <a:pt x="106704" y="1478303"/>
                      <a:pt x="162901" y="1477351"/>
                    </a:cubicBezTo>
                    <a:lnTo>
                      <a:pt x="1493544" y="1454491"/>
                    </a:lnTo>
                    <a:cubicBezTo>
                      <a:pt x="1549741" y="1453538"/>
                      <a:pt x="1598319" y="1424011"/>
                      <a:pt x="1625941" y="1375433"/>
                    </a:cubicBezTo>
                    <a:cubicBezTo>
                      <a:pt x="1652611" y="1326856"/>
                      <a:pt x="1651659" y="1268753"/>
                      <a:pt x="1623084" y="1221128"/>
                    </a:cubicBezTo>
                    <a:lnTo>
                      <a:pt x="937284" y="79081"/>
                    </a:lnTo>
                    <a:cubicBezTo>
                      <a:pt x="908709" y="32408"/>
                      <a:pt x="860131" y="4786"/>
                      <a:pt x="804886" y="4786"/>
                    </a:cubicBezTo>
                    <a:close/>
                  </a:path>
                </a:pathLst>
              </a:custGeom>
              <a:grpFill/>
              <a:ln w="9525" cap="flat">
                <a:noFill/>
                <a:prstDash val="solid"/>
                <a:miter/>
              </a:ln>
            </p:spPr>
            <p:txBody>
              <a:bodyPr rtlCol="0" anchor="ctr"/>
              <a:lstStyle/>
              <a:p>
                <a:endParaRPr lang="en-US" sz="1730"/>
              </a:p>
            </p:txBody>
          </p:sp>
          <p:sp>
            <p:nvSpPr>
              <p:cNvPr id="53" name="Freeform: Shape 52">
                <a:extLst>
                  <a:ext uri="{FF2B5EF4-FFF2-40B4-BE49-F238E27FC236}">
                    <a16:creationId xmlns:a16="http://schemas.microsoft.com/office/drawing/2014/main" id="{85339DC7-664E-4BEF-85FE-D1109A719B7E}"/>
                  </a:ext>
                </a:extLst>
              </p:cNvPr>
              <p:cNvSpPr/>
              <p:nvPr/>
            </p:nvSpPr>
            <p:spPr>
              <a:xfrm>
                <a:off x="5247730" y="2789965"/>
                <a:ext cx="1584777" cy="1622649"/>
              </a:xfrm>
              <a:custGeom>
                <a:avLst/>
                <a:gdLst>
                  <a:gd name="connsiteX0" fmla="*/ 1425801 w 1584777"/>
                  <a:gd name="connsiteY0" fmla="*/ 1622649 h 1622649"/>
                  <a:gd name="connsiteX1" fmla="*/ 1375319 w 1584777"/>
                  <a:gd name="connsiteY1" fmla="*/ 1615029 h 1622649"/>
                  <a:gd name="connsiteX2" fmla="*/ 110399 w 1584777"/>
                  <a:gd name="connsiteY2" fmla="*/ 1203549 h 1622649"/>
                  <a:gd name="connsiteX3" fmla="*/ 3719 w 1584777"/>
                  <a:gd name="connsiteY3" fmla="*/ 1084487 h 1622649"/>
                  <a:gd name="connsiteX4" fmla="*/ 53249 w 1584777"/>
                  <a:gd name="connsiteY4" fmla="*/ 932087 h 1622649"/>
                  <a:gd name="connsiteX5" fmla="*/ 1041944 w 1584777"/>
                  <a:gd name="connsiteY5" fmla="*/ 41499 h 1622649"/>
                  <a:gd name="connsiteX6" fmla="*/ 1043849 w 1584777"/>
                  <a:gd name="connsiteY6" fmla="*/ 43404 h 1622649"/>
                  <a:gd name="connsiteX7" fmla="*/ 1041944 w 1584777"/>
                  <a:gd name="connsiteY7" fmla="*/ 41499 h 1622649"/>
                  <a:gd name="connsiteX8" fmla="*/ 1198154 w 1584777"/>
                  <a:gd name="connsiteY8" fmla="*/ 8162 h 1622649"/>
                  <a:gd name="connsiteX9" fmla="*/ 1304834 w 1584777"/>
                  <a:gd name="connsiteY9" fmla="*/ 127224 h 1622649"/>
                  <a:gd name="connsiteX10" fmla="*/ 1581059 w 1584777"/>
                  <a:gd name="connsiteY10" fmla="*/ 1428339 h 1622649"/>
                  <a:gd name="connsiteX11" fmla="*/ 1531529 w 1584777"/>
                  <a:gd name="connsiteY11" fmla="*/ 1580739 h 1622649"/>
                  <a:gd name="connsiteX12" fmla="*/ 1425801 w 1584777"/>
                  <a:gd name="connsiteY12" fmla="*/ 1622649 h 1622649"/>
                  <a:gd name="connsiteX13" fmla="*/ 1147671 w 1584777"/>
                  <a:gd name="connsiteY13" fmla="*/ 6257 h 1622649"/>
                  <a:gd name="connsiteX14" fmla="*/ 1044801 w 1584777"/>
                  <a:gd name="connsiteY14" fmla="*/ 46262 h 1622649"/>
                  <a:gd name="connsiteX15" fmla="*/ 56106 w 1584777"/>
                  <a:gd name="connsiteY15" fmla="*/ 936849 h 1622649"/>
                  <a:gd name="connsiteX16" fmla="*/ 8481 w 1584777"/>
                  <a:gd name="connsiteY16" fmla="*/ 1083534 h 1622649"/>
                  <a:gd name="connsiteX17" fmla="*/ 111351 w 1584777"/>
                  <a:gd name="connsiteY17" fmla="*/ 1197834 h 1622649"/>
                  <a:gd name="connsiteX18" fmla="*/ 1376272 w 1584777"/>
                  <a:gd name="connsiteY18" fmla="*/ 1609314 h 1622649"/>
                  <a:gd name="connsiteX19" fmla="*/ 1526766 w 1584777"/>
                  <a:gd name="connsiteY19" fmla="*/ 1576929 h 1622649"/>
                  <a:gd name="connsiteX20" fmla="*/ 1574391 w 1584777"/>
                  <a:gd name="connsiteY20" fmla="*/ 1430244 h 1622649"/>
                  <a:gd name="connsiteX21" fmla="*/ 1298166 w 1584777"/>
                  <a:gd name="connsiteY21" fmla="*/ 129129 h 1622649"/>
                  <a:gd name="connsiteX22" fmla="*/ 1195297 w 1584777"/>
                  <a:gd name="connsiteY22" fmla="*/ 14829 h 1622649"/>
                  <a:gd name="connsiteX23" fmla="*/ 1147671 w 1584777"/>
                  <a:gd name="connsiteY23" fmla="*/ 6257 h 162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4777" h="1622649">
                    <a:moveTo>
                      <a:pt x="1425801" y="1622649"/>
                    </a:moveTo>
                    <a:cubicBezTo>
                      <a:pt x="1409609" y="1622649"/>
                      <a:pt x="1392464" y="1619792"/>
                      <a:pt x="1375319" y="1615029"/>
                    </a:cubicBezTo>
                    <a:lnTo>
                      <a:pt x="110399" y="1203549"/>
                    </a:lnTo>
                    <a:cubicBezTo>
                      <a:pt x="55154" y="1185452"/>
                      <a:pt x="15149" y="1141637"/>
                      <a:pt x="3719" y="1084487"/>
                    </a:cubicBezTo>
                    <a:cubicBezTo>
                      <a:pt x="-8664" y="1028289"/>
                      <a:pt x="10386" y="971139"/>
                      <a:pt x="53249" y="932087"/>
                    </a:cubicBezTo>
                    <a:lnTo>
                      <a:pt x="1041944" y="41499"/>
                    </a:lnTo>
                    <a:lnTo>
                      <a:pt x="1043849" y="43404"/>
                    </a:lnTo>
                    <a:lnTo>
                      <a:pt x="1041944" y="41499"/>
                    </a:lnTo>
                    <a:cubicBezTo>
                      <a:pt x="1084806" y="2447"/>
                      <a:pt x="1142909" y="-9936"/>
                      <a:pt x="1198154" y="8162"/>
                    </a:cubicBezTo>
                    <a:cubicBezTo>
                      <a:pt x="1253399" y="26259"/>
                      <a:pt x="1293404" y="70074"/>
                      <a:pt x="1304834" y="127224"/>
                    </a:cubicBezTo>
                    <a:lnTo>
                      <a:pt x="1581059" y="1428339"/>
                    </a:lnTo>
                    <a:cubicBezTo>
                      <a:pt x="1593441" y="1484537"/>
                      <a:pt x="1574391" y="1541687"/>
                      <a:pt x="1531529" y="1580739"/>
                    </a:cubicBezTo>
                    <a:cubicBezTo>
                      <a:pt x="1502001" y="1608362"/>
                      <a:pt x="1463901" y="1622649"/>
                      <a:pt x="1425801" y="1622649"/>
                    </a:cubicBezTo>
                    <a:close/>
                    <a:moveTo>
                      <a:pt x="1147671" y="6257"/>
                    </a:moveTo>
                    <a:cubicBezTo>
                      <a:pt x="1110524" y="6257"/>
                      <a:pt x="1074329" y="19592"/>
                      <a:pt x="1044801" y="46262"/>
                    </a:cubicBezTo>
                    <a:lnTo>
                      <a:pt x="56106" y="936849"/>
                    </a:lnTo>
                    <a:cubicBezTo>
                      <a:pt x="14196" y="973997"/>
                      <a:pt x="-2949" y="1029242"/>
                      <a:pt x="8481" y="1083534"/>
                    </a:cubicBezTo>
                    <a:cubicBezTo>
                      <a:pt x="19911" y="1137827"/>
                      <a:pt x="58964" y="1180689"/>
                      <a:pt x="111351" y="1197834"/>
                    </a:cubicBezTo>
                    <a:lnTo>
                      <a:pt x="1376272" y="1609314"/>
                    </a:lnTo>
                    <a:cubicBezTo>
                      <a:pt x="1429611" y="1626459"/>
                      <a:pt x="1485809" y="1615029"/>
                      <a:pt x="1526766" y="1576929"/>
                    </a:cubicBezTo>
                    <a:cubicBezTo>
                      <a:pt x="1568676" y="1539782"/>
                      <a:pt x="1585822" y="1484537"/>
                      <a:pt x="1574391" y="1430244"/>
                    </a:cubicBezTo>
                    <a:lnTo>
                      <a:pt x="1298166" y="129129"/>
                    </a:lnTo>
                    <a:cubicBezTo>
                      <a:pt x="1286736" y="74837"/>
                      <a:pt x="1247684" y="31974"/>
                      <a:pt x="1195297" y="14829"/>
                    </a:cubicBezTo>
                    <a:cubicBezTo>
                      <a:pt x="1180056" y="9114"/>
                      <a:pt x="1163864" y="6257"/>
                      <a:pt x="1147671" y="6257"/>
                    </a:cubicBezTo>
                    <a:close/>
                  </a:path>
                </a:pathLst>
              </a:custGeom>
              <a:grpFill/>
              <a:ln w="9525" cap="flat">
                <a:noFill/>
                <a:prstDash val="solid"/>
                <a:miter/>
              </a:ln>
            </p:spPr>
            <p:txBody>
              <a:bodyPr rtlCol="0" anchor="ctr"/>
              <a:lstStyle/>
              <a:p>
                <a:endParaRPr lang="en-US" sz="1730"/>
              </a:p>
            </p:txBody>
          </p:sp>
          <p:sp>
            <p:nvSpPr>
              <p:cNvPr id="54" name="Freeform: Shape 53">
                <a:extLst>
                  <a:ext uri="{FF2B5EF4-FFF2-40B4-BE49-F238E27FC236}">
                    <a16:creationId xmlns:a16="http://schemas.microsoft.com/office/drawing/2014/main" id="{DED6E3EF-BEB2-400D-A55F-8F548AA8A3C2}"/>
                  </a:ext>
                </a:extLst>
              </p:cNvPr>
              <p:cNvSpPr/>
              <p:nvPr/>
            </p:nvSpPr>
            <p:spPr>
              <a:xfrm>
                <a:off x="5179859" y="2878404"/>
                <a:ext cx="1545260" cy="1640889"/>
              </a:xfrm>
              <a:custGeom>
                <a:avLst/>
                <a:gdLst>
                  <a:gd name="connsiteX0" fmla="*/ 1222210 w 1545260"/>
                  <a:gd name="connsiteY0" fmla="*/ 1640890 h 1640889"/>
                  <a:gd name="connsiteX1" fmla="*/ 1126008 w 1545260"/>
                  <a:gd name="connsiteY1" fmla="*/ 1608505 h 1640889"/>
                  <a:gd name="connsiteX2" fmla="*/ 63970 w 1545260"/>
                  <a:gd name="connsiteY2" fmla="*/ 807452 h 1640889"/>
                  <a:gd name="connsiteX3" fmla="*/ 1105 w 1545260"/>
                  <a:gd name="connsiteY3" fmla="*/ 660767 h 1640889"/>
                  <a:gd name="connsiteX4" fmla="*/ 97308 w 1545260"/>
                  <a:gd name="connsiteY4" fmla="*/ 533132 h 1640889"/>
                  <a:gd name="connsiteX5" fmla="*/ 1322223 w 1545260"/>
                  <a:gd name="connsiteY5" fmla="*/ 13067 h 1640889"/>
                  <a:gd name="connsiteX6" fmla="*/ 1481290 w 1545260"/>
                  <a:gd name="connsiteY6" fmla="*/ 32117 h 1640889"/>
                  <a:gd name="connsiteX7" fmla="*/ 1544155 w 1545260"/>
                  <a:gd name="connsiteY7" fmla="*/ 178802 h 1640889"/>
                  <a:gd name="connsiteX8" fmla="*/ 1382230 w 1545260"/>
                  <a:gd name="connsiteY8" fmla="*/ 1498967 h 1640889"/>
                  <a:gd name="connsiteX9" fmla="*/ 1286028 w 1545260"/>
                  <a:gd name="connsiteY9" fmla="*/ 1626602 h 1640889"/>
                  <a:gd name="connsiteX10" fmla="*/ 1222210 w 1545260"/>
                  <a:gd name="connsiteY10" fmla="*/ 1640890 h 1640889"/>
                  <a:gd name="connsiteX11" fmla="*/ 1323175 w 1545260"/>
                  <a:gd name="connsiteY11" fmla="*/ 15925 h 1640889"/>
                  <a:gd name="connsiteX12" fmla="*/ 1324128 w 1545260"/>
                  <a:gd name="connsiteY12" fmla="*/ 18782 h 1640889"/>
                  <a:gd name="connsiteX13" fmla="*/ 100165 w 1545260"/>
                  <a:gd name="connsiteY13" fmla="*/ 537895 h 1640889"/>
                  <a:gd name="connsiteX14" fmla="*/ 6820 w 1545260"/>
                  <a:gd name="connsiteY14" fmla="*/ 660767 h 1640889"/>
                  <a:gd name="connsiteX15" fmla="*/ 66828 w 1545260"/>
                  <a:gd name="connsiteY15" fmla="*/ 803642 h 1640889"/>
                  <a:gd name="connsiteX16" fmla="*/ 1128865 w 1545260"/>
                  <a:gd name="connsiteY16" fmla="*/ 1604695 h 1640889"/>
                  <a:gd name="connsiteX17" fmla="*/ 1282218 w 1545260"/>
                  <a:gd name="connsiteY17" fmla="*/ 1623745 h 1640889"/>
                  <a:gd name="connsiteX18" fmla="*/ 1375563 w 1545260"/>
                  <a:gd name="connsiteY18" fmla="*/ 1500872 h 1640889"/>
                  <a:gd name="connsiteX19" fmla="*/ 1537488 w 1545260"/>
                  <a:gd name="connsiteY19" fmla="*/ 180707 h 1640889"/>
                  <a:gd name="connsiteX20" fmla="*/ 1477480 w 1545260"/>
                  <a:gd name="connsiteY20" fmla="*/ 38785 h 1640889"/>
                  <a:gd name="connsiteX21" fmla="*/ 1324128 w 1545260"/>
                  <a:gd name="connsiteY21" fmla="*/ 19735 h 1640889"/>
                  <a:gd name="connsiteX22" fmla="*/ 1323175 w 1545260"/>
                  <a:gd name="connsiteY22" fmla="*/ 15925 h 164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5260" h="1640889">
                    <a:moveTo>
                      <a:pt x="1222210" y="1640890"/>
                    </a:moveTo>
                    <a:cubicBezTo>
                      <a:pt x="1187920" y="1640890"/>
                      <a:pt x="1154583" y="1629460"/>
                      <a:pt x="1126008" y="1608505"/>
                    </a:cubicBezTo>
                    <a:lnTo>
                      <a:pt x="63970" y="807452"/>
                    </a:lnTo>
                    <a:cubicBezTo>
                      <a:pt x="18250" y="772210"/>
                      <a:pt x="-5562" y="717917"/>
                      <a:pt x="1105" y="660767"/>
                    </a:cubicBezTo>
                    <a:cubicBezTo>
                      <a:pt x="7773" y="603617"/>
                      <a:pt x="43968" y="555992"/>
                      <a:pt x="97308" y="533132"/>
                    </a:cubicBezTo>
                    <a:lnTo>
                      <a:pt x="1322223" y="13067"/>
                    </a:lnTo>
                    <a:cubicBezTo>
                      <a:pt x="1375563" y="-9793"/>
                      <a:pt x="1434618" y="-2173"/>
                      <a:pt x="1481290" y="32117"/>
                    </a:cubicBezTo>
                    <a:cubicBezTo>
                      <a:pt x="1527010" y="67360"/>
                      <a:pt x="1550823" y="121652"/>
                      <a:pt x="1544155" y="178802"/>
                    </a:cubicBezTo>
                    <a:lnTo>
                      <a:pt x="1382230" y="1498967"/>
                    </a:lnTo>
                    <a:cubicBezTo>
                      <a:pt x="1375563" y="1556117"/>
                      <a:pt x="1339368" y="1603742"/>
                      <a:pt x="1286028" y="1626602"/>
                    </a:cubicBezTo>
                    <a:cubicBezTo>
                      <a:pt x="1264120" y="1636127"/>
                      <a:pt x="1243165" y="1640890"/>
                      <a:pt x="1222210" y="1640890"/>
                    </a:cubicBezTo>
                    <a:close/>
                    <a:moveTo>
                      <a:pt x="1323175" y="15925"/>
                    </a:moveTo>
                    <a:lnTo>
                      <a:pt x="1324128" y="18782"/>
                    </a:lnTo>
                    <a:lnTo>
                      <a:pt x="100165" y="537895"/>
                    </a:lnTo>
                    <a:cubicBezTo>
                      <a:pt x="48730" y="559802"/>
                      <a:pt x="14440" y="605522"/>
                      <a:pt x="6820" y="660767"/>
                    </a:cubicBezTo>
                    <a:cubicBezTo>
                      <a:pt x="153" y="716965"/>
                      <a:pt x="23013" y="769352"/>
                      <a:pt x="66828" y="803642"/>
                    </a:cubicBezTo>
                    <a:lnTo>
                      <a:pt x="1128865" y="1604695"/>
                    </a:lnTo>
                    <a:cubicBezTo>
                      <a:pt x="1173633" y="1638032"/>
                      <a:pt x="1230783" y="1645652"/>
                      <a:pt x="1282218" y="1623745"/>
                    </a:cubicBezTo>
                    <a:cubicBezTo>
                      <a:pt x="1333653" y="1601837"/>
                      <a:pt x="1367943" y="1556117"/>
                      <a:pt x="1375563" y="1500872"/>
                    </a:cubicBezTo>
                    <a:lnTo>
                      <a:pt x="1537488" y="180707"/>
                    </a:lnTo>
                    <a:cubicBezTo>
                      <a:pt x="1544155" y="125462"/>
                      <a:pt x="1521295" y="72122"/>
                      <a:pt x="1477480" y="38785"/>
                    </a:cubicBezTo>
                    <a:cubicBezTo>
                      <a:pt x="1432713" y="5447"/>
                      <a:pt x="1375563" y="-2173"/>
                      <a:pt x="1324128" y="19735"/>
                    </a:cubicBezTo>
                    <a:lnTo>
                      <a:pt x="1323175" y="15925"/>
                    </a:lnTo>
                    <a:close/>
                  </a:path>
                </a:pathLst>
              </a:custGeom>
              <a:grpFill/>
              <a:ln w="9525" cap="flat">
                <a:noFill/>
                <a:prstDash val="solid"/>
                <a:miter/>
              </a:ln>
            </p:spPr>
            <p:txBody>
              <a:bodyPr rtlCol="0" anchor="ctr"/>
              <a:lstStyle/>
              <a:p>
                <a:endParaRPr lang="en-US" sz="1730"/>
              </a:p>
            </p:txBody>
          </p:sp>
          <p:sp>
            <p:nvSpPr>
              <p:cNvPr id="55" name="Freeform: Shape 54">
                <a:extLst>
                  <a:ext uri="{FF2B5EF4-FFF2-40B4-BE49-F238E27FC236}">
                    <a16:creationId xmlns:a16="http://schemas.microsoft.com/office/drawing/2014/main" id="{4056E671-564E-4828-B12C-3873C15097FD}"/>
                  </a:ext>
                </a:extLst>
              </p:cNvPr>
              <p:cNvSpPr/>
              <p:nvPr/>
            </p:nvSpPr>
            <p:spPr>
              <a:xfrm>
                <a:off x="5208682" y="3017783"/>
                <a:ext cx="1646681" cy="1514845"/>
              </a:xfrm>
              <a:custGeom>
                <a:avLst/>
                <a:gdLst>
                  <a:gd name="connsiteX0" fmla="*/ 902875 w 1646681"/>
                  <a:gd name="connsiteY0" fmla="*/ 1514846 h 1514845"/>
                  <a:gd name="connsiteX1" fmla="*/ 770477 w 1646681"/>
                  <a:gd name="connsiteY1" fmla="*/ 1444361 h 1514845"/>
                  <a:gd name="connsiteX2" fmla="*/ 27527 w 1646681"/>
                  <a:gd name="connsiteY2" fmla="*/ 341366 h 1514845"/>
                  <a:gd name="connsiteX3" fmla="*/ 16097 w 1646681"/>
                  <a:gd name="connsiteY3" fmla="*/ 182298 h 1514845"/>
                  <a:gd name="connsiteX4" fmla="*/ 148495 w 1646681"/>
                  <a:gd name="connsiteY4" fmla="*/ 92763 h 1514845"/>
                  <a:gd name="connsiteX5" fmla="*/ 1475327 w 1646681"/>
                  <a:gd name="connsiteY5" fmla="*/ 371 h 1514845"/>
                  <a:gd name="connsiteX6" fmla="*/ 1619155 w 1646681"/>
                  <a:gd name="connsiteY6" fmla="*/ 70856 h 1514845"/>
                  <a:gd name="connsiteX7" fmla="*/ 1630585 w 1646681"/>
                  <a:gd name="connsiteY7" fmla="*/ 229923 h 1514845"/>
                  <a:gd name="connsiteX8" fmla="*/ 1047655 w 1646681"/>
                  <a:gd name="connsiteY8" fmla="*/ 1424358 h 1514845"/>
                  <a:gd name="connsiteX9" fmla="*/ 915257 w 1646681"/>
                  <a:gd name="connsiteY9" fmla="*/ 1513893 h 1514845"/>
                  <a:gd name="connsiteX10" fmla="*/ 902875 w 1646681"/>
                  <a:gd name="connsiteY10" fmla="*/ 1514846 h 1514845"/>
                  <a:gd name="connsiteX11" fmla="*/ 1475327 w 1646681"/>
                  <a:gd name="connsiteY11" fmla="*/ 2276 h 1514845"/>
                  <a:gd name="connsiteX12" fmla="*/ 1475327 w 1646681"/>
                  <a:gd name="connsiteY12" fmla="*/ 5133 h 1514845"/>
                  <a:gd name="connsiteX13" fmla="*/ 148495 w 1646681"/>
                  <a:gd name="connsiteY13" fmla="*/ 97526 h 1514845"/>
                  <a:gd name="connsiteX14" fmla="*/ 20860 w 1646681"/>
                  <a:gd name="connsiteY14" fmla="*/ 184203 h 1514845"/>
                  <a:gd name="connsiteX15" fmla="*/ 31337 w 1646681"/>
                  <a:gd name="connsiteY15" fmla="*/ 338508 h 1514845"/>
                  <a:gd name="connsiteX16" fmla="*/ 775240 w 1646681"/>
                  <a:gd name="connsiteY16" fmla="*/ 1441503 h 1514845"/>
                  <a:gd name="connsiteX17" fmla="*/ 914305 w 1646681"/>
                  <a:gd name="connsiteY17" fmla="*/ 1509131 h 1514845"/>
                  <a:gd name="connsiteX18" fmla="*/ 1041940 w 1646681"/>
                  <a:gd name="connsiteY18" fmla="*/ 1422453 h 1514845"/>
                  <a:gd name="connsiteX19" fmla="*/ 1624870 w 1646681"/>
                  <a:gd name="connsiteY19" fmla="*/ 227066 h 1514845"/>
                  <a:gd name="connsiteX20" fmla="*/ 1614392 w 1646681"/>
                  <a:gd name="connsiteY20" fmla="*/ 72761 h 1514845"/>
                  <a:gd name="connsiteX21" fmla="*/ 1475327 w 1646681"/>
                  <a:gd name="connsiteY21" fmla="*/ 5133 h 1514845"/>
                  <a:gd name="connsiteX22" fmla="*/ 1475327 w 1646681"/>
                  <a:gd name="connsiteY22" fmla="*/ 2276 h 151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46681" h="1514845">
                    <a:moveTo>
                      <a:pt x="902875" y="1514846"/>
                    </a:moveTo>
                    <a:cubicBezTo>
                      <a:pt x="849535" y="1514846"/>
                      <a:pt x="800957" y="1489128"/>
                      <a:pt x="770477" y="1444361"/>
                    </a:cubicBezTo>
                    <a:lnTo>
                      <a:pt x="27527" y="341366"/>
                    </a:lnTo>
                    <a:cubicBezTo>
                      <a:pt x="-4858" y="293741"/>
                      <a:pt x="-8668" y="233733"/>
                      <a:pt x="16097" y="182298"/>
                    </a:cubicBezTo>
                    <a:cubicBezTo>
                      <a:pt x="41815" y="129911"/>
                      <a:pt x="91345" y="96573"/>
                      <a:pt x="148495" y="92763"/>
                    </a:cubicBezTo>
                    <a:lnTo>
                      <a:pt x="1475327" y="371"/>
                    </a:lnTo>
                    <a:cubicBezTo>
                      <a:pt x="1533430" y="-3439"/>
                      <a:pt x="1586770" y="22278"/>
                      <a:pt x="1619155" y="70856"/>
                    </a:cubicBezTo>
                    <a:cubicBezTo>
                      <a:pt x="1651540" y="118481"/>
                      <a:pt x="1655350" y="178488"/>
                      <a:pt x="1630585" y="229923"/>
                    </a:cubicBezTo>
                    <a:lnTo>
                      <a:pt x="1047655" y="1424358"/>
                    </a:lnTo>
                    <a:cubicBezTo>
                      <a:pt x="1021937" y="1476746"/>
                      <a:pt x="972407" y="1510083"/>
                      <a:pt x="915257" y="1513893"/>
                    </a:cubicBezTo>
                    <a:cubicBezTo>
                      <a:pt x="910495" y="1513893"/>
                      <a:pt x="906685" y="1514846"/>
                      <a:pt x="902875" y="1514846"/>
                    </a:cubicBezTo>
                    <a:close/>
                    <a:moveTo>
                      <a:pt x="1475327" y="2276"/>
                    </a:moveTo>
                    <a:lnTo>
                      <a:pt x="1475327" y="5133"/>
                    </a:lnTo>
                    <a:lnTo>
                      <a:pt x="148495" y="97526"/>
                    </a:lnTo>
                    <a:cubicBezTo>
                      <a:pt x="93250" y="101336"/>
                      <a:pt x="45625" y="133720"/>
                      <a:pt x="20860" y="184203"/>
                    </a:cubicBezTo>
                    <a:cubicBezTo>
                      <a:pt x="-3905" y="234686"/>
                      <a:pt x="857" y="291836"/>
                      <a:pt x="31337" y="338508"/>
                    </a:cubicBezTo>
                    <a:lnTo>
                      <a:pt x="775240" y="1441503"/>
                    </a:lnTo>
                    <a:cubicBezTo>
                      <a:pt x="806672" y="1488176"/>
                      <a:pt x="858107" y="1512941"/>
                      <a:pt x="914305" y="1509131"/>
                    </a:cubicBezTo>
                    <a:cubicBezTo>
                      <a:pt x="969550" y="1505321"/>
                      <a:pt x="1018127" y="1472936"/>
                      <a:pt x="1041940" y="1422453"/>
                    </a:cubicBezTo>
                    <a:lnTo>
                      <a:pt x="1624870" y="227066"/>
                    </a:lnTo>
                    <a:cubicBezTo>
                      <a:pt x="1649635" y="176583"/>
                      <a:pt x="1644872" y="119433"/>
                      <a:pt x="1614392" y="72761"/>
                    </a:cubicBezTo>
                    <a:cubicBezTo>
                      <a:pt x="1582960" y="26088"/>
                      <a:pt x="1531525" y="1323"/>
                      <a:pt x="1475327" y="5133"/>
                    </a:cubicBezTo>
                    <a:lnTo>
                      <a:pt x="1475327" y="2276"/>
                    </a:lnTo>
                    <a:close/>
                  </a:path>
                </a:pathLst>
              </a:custGeom>
              <a:grpFill/>
              <a:ln w="9525" cap="flat">
                <a:noFill/>
                <a:prstDash val="solid"/>
                <a:miter/>
              </a:ln>
            </p:spPr>
            <p:txBody>
              <a:bodyPr rtlCol="0" anchor="ctr"/>
              <a:lstStyle/>
              <a:p>
                <a:endParaRPr lang="en-US" sz="1730"/>
              </a:p>
            </p:txBody>
          </p:sp>
          <p:sp>
            <p:nvSpPr>
              <p:cNvPr id="56" name="Freeform: Shape 55">
                <a:extLst>
                  <a:ext uri="{FF2B5EF4-FFF2-40B4-BE49-F238E27FC236}">
                    <a16:creationId xmlns:a16="http://schemas.microsoft.com/office/drawing/2014/main" id="{CE2375AC-EE5D-462B-8769-A875F92C6D3F}"/>
                  </a:ext>
                </a:extLst>
              </p:cNvPr>
              <p:cNvSpPr/>
              <p:nvPr/>
            </p:nvSpPr>
            <p:spPr>
              <a:xfrm>
                <a:off x="5329614" y="2845675"/>
                <a:ext cx="1604843" cy="1605039"/>
              </a:xfrm>
              <a:custGeom>
                <a:avLst/>
                <a:gdLst>
                  <a:gd name="connsiteX0" fmla="*/ 504765 w 1604843"/>
                  <a:gd name="connsiteY0" fmla="*/ 1605039 h 1605039"/>
                  <a:gd name="connsiteX1" fmla="*/ 462856 w 1604843"/>
                  <a:gd name="connsiteY1" fmla="*/ 1599324 h 1605039"/>
                  <a:gd name="connsiteX2" fmla="*/ 349508 w 1604843"/>
                  <a:gd name="connsiteY2" fmla="*/ 1485977 h 1605039"/>
                  <a:gd name="connsiteX3" fmla="*/ 5655 w 1604843"/>
                  <a:gd name="connsiteY3" fmla="*/ 201054 h 1605039"/>
                  <a:gd name="connsiteX4" fmla="*/ 46613 w 1604843"/>
                  <a:gd name="connsiteY4" fmla="*/ 46749 h 1605039"/>
                  <a:gd name="connsiteX5" fmla="*/ 200918 w 1604843"/>
                  <a:gd name="connsiteY5" fmla="*/ 5792 h 1605039"/>
                  <a:gd name="connsiteX6" fmla="*/ 1485841 w 1604843"/>
                  <a:gd name="connsiteY6" fmla="*/ 350597 h 1605039"/>
                  <a:gd name="connsiteX7" fmla="*/ 1599188 w 1604843"/>
                  <a:gd name="connsiteY7" fmla="*/ 463944 h 1605039"/>
                  <a:gd name="connsiteX8" fmla="*/ 1558231 w 1604843"/>
                  <a:gd name="connsiteY8" fmla="*/ 618249 h 1605039"/>
                  <a:gd name="connsiteX9" fmla="*/ 617161 w 1604843"/>
                  <a:gd name="connsiteY9" fmla="*/ 1559319 h 1605039"/>
                  <a:gd name="connsiteX10" fmla="*/ 504765 w 1604843"/>
                  <a:gd name="connsiteY10" fmla="*/ 1605039 h 1605039"/>
                  <a:gd name="connsiteX11" fmla="*/ 159008 w 1604843"/>
                  <a:gd name="connsiteY11" fmla="*/ 4839 h 1605039"/>
                  <a:gd name="connsiteX12" fmla="*/ 50423 w 1604843"/>
                  <a:gd name="connsiteY12" fmla="*/ 50559 h 1605039"/>
                  <a:gd name="connsiteX13" fmla="*/ 10418 w 1604843"/>
                  <a:gd name="connsiteY13" fmla="*/ 200102 h 1605039"/>
                  <a:gd name="connsiteX14" fmla="*/ 355223 w 1604843"/>
                  <a:gd name="connsiteY14" fmla="*/ 1485024 h 1605039"/>
                  <a:gd name="connsiteX15" fmla="*/ 464760 w 1604843"/>
                  <a:gd name="connsiteY15" fmla="*/ 1594562 h 1605039"/>
                  <a:gd name="connsiteX16" fmla="*/ 614303 w 1604843"/>
                  <a:gd name="connsiteY16" fmla="*/ 1554557 h 1605039"/>
                  <a:gd name="connsiteX17" fmla="*/ 1555373 w 1604843"/>
                  <a:gd name="connsiteY17" fmla="*/ 613487 h 1605039"/>
                  <a:gd name="connsiteX18" fmla="*/ 1595378 w 1604843"/>
                  <a:gd name="connsiteY18" fmla="*/ 463944 h 1605039"/>
                  <a:gd name="connsiteX19" fmla="*/ 1485841 w 1604843"/>
                  <a:gd name="connsiteY19" fmla="*/ 354407 h 1605039"/>
                  <a:gd name="connsiteX20" fmla="*/ 199965 w 1604843"/>
                  <a:gd name="connsiteY20" fmla="*/ 10554 h 1605039"/>
                  <a:gd name="connsiteX21" fmla="*/ 159008 w 1604843"/>
                  <a:gd name="connsiteY21" fmla="*/ 4839 h 160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4843" h="1605039">
                    <a:moveTo>
                      <a:pt x="504765" y="1605039"/>
                    </a:moveTo>
                    <a:cubicBezTo>
                      <a:pt x="490478" y="1605039"/>
                      <a:pt x="477143" y="1603134"/>
                      <a:pt x="462856" y="1599324"/>
                    </a:cubicBezTo>
                    <a:cubicBezTo>
                      <a:pt x="406658" y="1584084"/>
                      <a:pt x="364748" y="1542174"/>
                      <a:pt x="349508" y="1485977"/>
                    </a:cubicBezTo>
                    <a:lnTo>
                      <a:pt x="5655" y="201054"/>
                    </a:lnTo>
                    <a:cubicBezTo>
                      <a:pt x="-9585" y="144857"/>
                      <a:pt x="6608" y="87707"/>
                      <a:pt x="46613" y="46749"/>
                    </a:cubicBezTo>
                    <a:cubicBezTo>
                      <a:pt x="87570" y="5792"/>
                      <a:pt x="144720" y="-9448"/>
                      <a:pt x="200918" y="5792"/>
                    </a:cubicBezTo>
                    <a:lnTo>
                      <a:pt x="1485841" y="350597"/>
                    </a:lnTo>
                    <a:cubicBezTo>
                      <a:pt x="1542038" y="365837"/>
                      <a:pt x="1583948" y="407747"/>
                      <a:pt x="1599188" y="463944"/>
                    </a:cubicBezTo>
                    <a:cubicBezTo>
                      <a:pt x="1614428" y="520142"/>
                      <a:pt x="1598236" y="577292"/>
                      <a:pt x="1558231" y="618249"/>
                    </a:cubicBezTo>
                    <a:lnTo>
                      <a:pt x="617161" y="1559319"/>
                    </a:lnTo>
                    <a:cubicBezTo>
                      <a:pt x="586681" y="1588847"/>
                      <a:pt x="546675" y="1605039"/>
                      <a:pt x="504765" y="1605039"/>
                    </a:cubicBezTo>
                    <a:close/>
                    <a:moveTo>
                      <a:pt x="159008" y="4839"/>
                    </a:moveTo>
                    <a:cubicBezTo>
                      <a:pt x="119003" y="4839"/>
                      <a:pt x="79950" y="21032"/>
                      <a:pt x="50423" y="50559"/>
                    </a:cubicBezTo>
                    <a:cubicBezTo>
                      <a:pt x="11370" y="89612"/>
                      <a:pt x="-3870" y="145809"/>
                      <a:pt x="10418" y="200102"/>
                    </a:cubicBezTo>
                    <a:lnTo>
                      <a:pt x="355223" y="1485024"/>
                    </a:lnTo>
                    <a:cubicBezTo>
                      <a:pt x="369510" y="1539317"/>
                      <a:pt x="410468" y="1579322"/>
                      <a:pt x="464760" y="1594562"/>
                    </a:cubicBezTo>
                    <a:cubicBezTo>
                      <a:pt x="519053" y="1608849"/>
                      <a:pt x="574298" y="1593609"/>
                      <a:pt x="614303" y="1554557"/>
                    </a:cubicBezTo>
                    <a:lnTo>
                      <a:pt x="1555373" y="613487"/>
                    </a:lnTo>
                    <a:cubicBezTo>
                      <a:pt x="1594426" y="574434"/>
                      <a:pt x="1609666" y="518237"/>
                      <a:pt x="1595378" y="463944"/>
                    </a:cubicBezTo>
                    <a:cubicBezTo>
                      <a:pt x="1581091" y="409652"/>
                      <a:pt x="1540133" y="369647"/>
                      <a:pt x="1485841" y="354407"/>
                    </a:cubicBezTo>
                    <a:lnTo>
                      <a:pt x="199965" y="10554"/>
                    </a:lnTo>
                    <a:cubicBezTo>
                      <a:pt x="185678" y="6744"/>
                      <a:pt x="172343" y="4839"/>
                      <a:pt x="159008" y="4839"/>
                    </a:cubicBezTo>
                    <a:close/>
                  </a:path>
                </a:pathLst>
              </a:custGeom>
              <a:grpFill/>
              <a:ln w="9525" cap="flat">
                <a:noFill/>
                <a:prstDash val="solid"/>
                <a:miter/>
              </a:ln>
            </p:spPr>
            <p:txBody>
              <a:bodyPr rtlCol="0" anchor="ctr"/>
              <a:lstStyle/>
              <a:p>
                <a:endParaRPr lang="en-US" sz="1730"/>
              </a:p>
            </p:txBody>
          </p:sp>
          <p:sp>
            <p:nvSpPr>
              <p:cNvPr id="57" name="Freeform: Shape 56">
                <a:extLst>
                  <a:ext uri="{FF2B5EF4-FFF2-40B4-BE49-F238E27FC236}">
                    <a16:creationId xmlns:a16="http://schemas.microsoft.com/office/drawing/2014/main" id="{5543C42A-4AA4-4EE3-9D6A-20D705974B93}"/>
                  </a:ext>
                </a:extLst>
              </p:cNvPr>
              <p:cNvSpPr/>
              <p:nvPr/>
            </p:nvSpPr>
            <p:spPr>
              <a:xfrm>
                <a:off x="5435874" y="2634946"/>
                <a:ext cx="1515194" cy="1647175"/>
              </a:xfrm>
              <a:custGeom>
                <a:avLst/>
                <a:gdLst>
                  <a:gd name="connsiteX0" fmla="*/ 160380 w 1515194"/>
                  <a:gd name="connsiteY0" fmla="*/ 1647176 h 1647175"/>
                  <a:gd name="connsiteX1" fmla="*/ 70845 w 1515194"/>
                  <a:gd name="connsiteY1" fmla="*/ 1619553 h 1647175"/>
                  <a:gd name="connsiteX2" fmla="*/ 360 w 1515194"/>
                  <a:gd name="connsiteY2" fmla="*/ 1475726 h 1647175"/>
                  <a:gd name="connsiteX3" fmla="*/ 92752 w 1515194"/>
                  <a:gd name="connsiteY3" fmla="*/ 148893 h 1647175"/>
                  <a:gd name="connsiteX4" fmla="*/ 182287 w 1515194"/>
                  <a:gd name="connsiteY4" fmla="*/ 16496 h 1647175"/>
                  <a:gd name="connsiteX5" fmla="*/ 341355 w 1515194"/>
                  <a:gd name="connsiteY5" fmla="*/ 27926 h 1647175"/>
                  <a:gd name="connsiteX6" fmla="*/ 1444350 w 1515194"/>
                  <a:gd name="connsiteY6" fmla="*/ 771828 h 1647175"/>
                  <a:gd name="connsiteX7" fmla="*/ 1514835 w 1515194"/>
                  <a:gd name="connsiteY7" fmla="*/ 915656 h 1647175"/>
                  <a:gd name="connsiteX8" fmla="*/ 1425300 w 1515194"/>
                  <a:gd name="connsiteY8" fmla="*/ 1048053 h 1647175"/>
                  <a:gd name="connsiteX9" fmla="*/ 230865 w 1515194"/>
                  <a:gd name="connsiteY9" fmla="*/ 1630983 h 1647175"/>
                  <a:gd name="connsiteX10" fmla="*/ 160380 w 1515194"/>
                  <a:gd name="connsiteY10" fmla="*/ 1647176 h 1647175"/>
                  <a:gd name="connsiteX11" fmla="*/ 253725 w 1515194"/>
                  <a:gd name="connsiteY11" fmla="*/ 5066 h 1647175"/>
                  <a:gd name="connsiteX12" fmla="*/ 186097 w 1515194"/>
                  <a:gd name="connsiteY12" fmla="*/ 21258 h 1647175"/>
                  <a:gd name="connsiteX13" fmla="*/ 99420 w 1515194"/>
                  <a:gd name="connsiteY13" fmla="*/ 148893 h 1647175"/>
                  <a:gd name="connsiteX14" fmla="*/ 7027 w 1515194"/>
                  <a:gd name="connsiteY14" fmla="*/ 1475726 h 1647175"/>
                  <a:gd name="connsiteX15" fmla="*/ 74655 w 1515194"/>
                  <a:gd name="connsiteY15" fmla="*/ 1614791 h 1647175"/>
                  <a:gd name="connsiteX16" fmla="*/ 228960 w 1515194"/>
                  <a:gd name="connsiteY16" fmla="*/ 1625268 h 1647175"/>
                  <a:gd name="connsiteX17" fmla="*/ 1424347 w 1515194"/>
                  <a:gd name="connsiteY17" fmla="*/ 1042338 h 1647175"/>
                  <a:gd name="connsiteX18" fmla="*/ 1511025 w 1515194"/>
                  <a:gd name="connsiteY18" fmla="*/ 914703 h 1647175"/>
                  <a:gd name="connsiteX19" fmla="*/ 1443397 w 1515194"/>
                  <a:gd name="connsiteY19" fmla="*/ 775638 h 1647175"/>
                  <a:gd name="connsiteX20" fmla="*/ 340402 w 1515194"/>
                  <a:gd name="connsiteY20" fmla="*/ 31736 h 1647175"/>
                  <a:gd name="connsiteX21" fmla="*/ 253725 w 1515194"/>
                  <a:gd name="connsiteY21" fmla="*/ 5066 h 16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5194" h="1647175">
                    <a:moveTo>
                      <a:pt x="160380" y="1647176"/>
                    </a:moveTo>
                    <a:cubicBezTo>
                      <a:pt x="128947" y="1647176"/>
                      <a:pt x="98467" y="1637651"/>
                      <a:pt x="70845" y="1619553"/>
                    </a:cubicBezTo>
                    <a:cubicBezTo>
                      <a:pt x="23220" y="1587168"/>
                      <a:pt x="-3450" y="1533828"/>
                      <a:pt x="360" y="1475726"/>
                    </a:cubicBezTo>
                    <a:lnTo>
                      <a:pt x="92752" y="148893"/>
                    </a:lnTo>
                    <a:cubicBezTo>
                      <a:pt x="96562" y="90791"/>
                      <a:pt x="129900" y="41261"/>
                      <a:pt x="182287" y="16496"/>
                    </a:cubicBezTo>
                    <a:cubicBezTo>
                      <a:pt x="234675" y="-9222"/>
                      <a:pt x="293730" y="-4459"/>
                      <a:pt x="341355" y="27926"/>
                    </a:cubicBezTo>
                    <a:lnTo>
                      <a:pt x="1444350" y="771828"/>
                    </a:lnTo>
                    <a:cubicBezTo>
                      <a:pt x="1491975" y="804213"/>
                      <a:pt x="1518645" y="857553"/>
                      <a:pt x="1514835" y="915656"/>
                    </a:cubicBezTo>
                    <a:cubicBezTo>
                      <a:pt x="1511025" y="973758"/>
                      <a:pt x="1477687" y="1023288"/>
                      <a:pt x="1425300" y="1048053"/>
                    </a:cubicBezTo>
                    <a:lnTo>
                      <a:pt x="230865" y="1630983"/>
                    </a:lnTo>
                    <a:cubicBezTo>
                      <a:pt x="208005" y="1641461"/>
                      <a:pt x="184192" y="1647176"/>
                      <a:pt x="160380" y="1647176"/>
                    </a:cubicBezTo>
                    <a:close/>
                    <a:moveTo>
                      <a:pt x="253725" y="5066"/>
                    </a:moveTo>
                    <a:cubicBezTo>
                      <a:pt x="230865" y="5066"/>
                      <a:pt x="208005" y="10781"/>
                      <a:pt x="186097" y="21258"/>
                    </a:cubicBezTo>
                    <a:cubicBezTo>
                      <a:pt x="135615" y="46023"/>
                      <a:pt x="103230" y="93648"/>
                      <a:pt x="99420" y="148893"/>
                    </a:cubicBezTo>
                    <a:lnTo>
                      <a:pt x="7027" y="1475726"/>
                    </a:lnTo>
                    <a:cubicBezTo>
                      <a:pt x="3217" y="1530971"/>
                      <a:pt x="27982" y="1583358"/>
                      <a:pt x="74655" y="1614791"/>
                    </a:cubicBezTo>
                    <a:cubicBezTo>
                      <a:pt x="121327" y="1646223"/>
                      <a:pt x="178477" y="1650033"/>
                      <a:pt x="228960" y="1625268"/>
                    </a:cubicBezTo>
                    <a:lnTo>
                      <a:pt x="1424347" y="1042338"/>
                    </a:lnTo>
                    <a:cubicBezTo>
                      <a:pt x="1474830" y="1017573"/>
                      <a:pt x="1507215" y="969948"/>
                      <a:pt x="1511025" y="914703"/>
                    </a:cubicBezTo>
                    <a:cubicBezTo>
                      <a:pt x="1514835" y="859458"/>
                      <a:pt x="1490070" y="807071"/>
                      <a:pt x="1443397" y="775638"/>
                    </a:cubicBezTo>
                    <a:lnTo>
                      <a:pt x="340402" y="31736"/>
                    </a:lnTo>
                    <a:cubicBezTo>
                      <a:pt x="313732" y="14591"/>
                      <a:pt x="284205" y="5066"/>
                      <a:pt x="253725" y="5066"/>
                    </a:cubicBezTo>
                    <a:close/>
                  </a:path>
                </a:pathLst>
              </a:custGeom>
              <a:grpFill/>
              <a:ln w="9525" cap="flat">
                <a:noFill/>
                <a:prstDash val="solid"/>
                <a:miter/>
              </a:ln>
            </p:spPr>
            <p:txBody>
              <a:bodyPr rtlCol="0" anchor="ctr"/>
              <a:lstStyle/>
              <a:p>
                <a:endParaRPr lang="en-US" sz="1730"/>
              </a:p>
            </p:txBody>
          </p:sp>
          <p:sp>
            <p:nvSpPr>
              <p:cNvPr id="58" name="Freeform: Shape 57">
                <a:extLst>
                  <a:ext uri="{FF2B5EF4-FFF2-40B4-BE49-F238E27FC236}">
                    <a16:creationId xmlns:a16="http://schemas.microsoft.com/office/drawing/2014/main" id="{5A06D381-5E3A-45E2-943A-D8A9CD6DDB02}"/>
                  </a:ext>
                </a:extLst>
              </p:cNvPr>
              <p:cNvSpPr/>
              <p:nvPr/>
            </p:nvSpPr>
            <p:spPr>
              <a:xfrm>
                <a:off x="5267647" y="2501714"/>
                <a:ext cx="1640193" cy="1544187"/>
              </a:xfrm>
              <a:custGeom>
                <a:avLst/>
                <a:gdLst>
                  <a:gd name="connsiteX0" fmla="*/ 159062 w 1640193"/>
                  <a:gd name="connsiteY0" fmla="*/ 1544188 h 1544187"/>
                  <a:gd name="connsiteX1" fmla="*/ 32379 w 1640193"/>
                  <a:gd name="connsiteY1" fmla="*/ 1480370 h 1544187"/>
                  <a:gd name="connsiteX2" fmla="*/ 13329 w 1640193"/>
                  <a:gd name="connsiteY2" fmla="*/ 1321303 h 1544187"/>
                  <a:gd name="connsiteX3" fmla="*/ 532442 w 1640193"/>
                  <a:gd name="connsiteY3" fmla="*/ 97340 h 1544187"/>
                  <a:gd name="connsiteX4" fmla="*/ 660077 w 1640193"/>
                  <a:gd name="connsiteY4" fmla="*/ 1138 h 1544187"/>
                  <a:gd name="connsiteX5" fmla="*/ 806762 w 1640193"/>
                  <a:gd name="connsiteY5" fmla="*/ 64003 h 1544187"/>
                  <a:gd name="connsiteX6" fmla="*/ 1607814 w 1640193"/>
                  <a:gd name="connsiteY6" fmla="*/ 1126040 h 1544187"/>
                  <a:gd name="connsiteX7" fmla="*/ 1626864 w 1640193"/>
                  <a:gd name="connsiteY7" fmla="*/ 1285108 h 1544187"/>
                  <a:gd name="connsiteX8" fmla="*/ 1499229 w 1640193"/>
                  <a:gd name="connsiteY8" fmla="*/ 1381310 h 1544187"/>
                  <a:gd name="connsiteX9" fmla="*/ 179064 w 1640193"/>
                  <a:gd name="connsiteY9" fmla="*/ 1543235 h 1544187"/>
                  <a:gd name="connsiteX10" fmla="*/ 159062 w 1640193"/>
                  <a:gd name="connsiteY10" fmla="*/ 1544188 h 1544187"/>
                  <a:gd name="connsiteX11" fmla="*/ 680079 w 1640193"/>
                  <a:gd name="connsiteY11" fmla="*/ 4948 h 1544187"/>
                  <a:gd name="connsiteX12" fmla="*/ 661029 w 1640193"/>
                  <a:gd name="connsiteY12" fmla="*/ 5900 h 1544187"/>
                  <a:gd name="connsiteX13" fmla="*/ 538157 w 1640193"/>
                  <a:gd name="connsiteY13" fmla="*/ 99245 h 1544187"/>
                  <a:gd name="connsiteX14" fmla="*/ 18092 w 1640193"/>
                  <a:gd name="connsiteY14" fmla="*/ 1324160 h 1544187"/>
                  <a:gd name="connsiteX15" fmla="*/ 37142 w 1640193"/>
                  <a:gd name="connsiteY15" fmla="*/ 1477513 h 1544187"/>
                  <a:gd name="connsiteX16" fmla="*/ 179064 w 1640193"/>
                  <a:gd name="connsiteY16" fmla="*/ 1537520 h 1544187"/>
                  <a:gd name="connsiteX17" fmla="*/ 1499229 w 1640193"/>
                  <a:gd name="connsiteY17" fmla="*/ 1375595 h 1544187"/>
                  <a:gd name="connsiteX18" fmla="*/ 1622102 w 1640193"/>
                  <a:gd name="connsiteY18" fmla="*/ 1282250 h 1544187"/>
                  <a:gd name="connsiteX19" fmla="*/ 1603052 w 1640193"/>
                  <a:gd name="connsiteY19" fmla="*/ 1128898 h 1544187"/>
                  <a:gd name="connsiteX20" fmla="*/ 802952 w 1640193"/>
                  <a:gd name="connsiteY20" fmla="*/ 66860 h 1544187"/>
                  <a:gd name="connsiteX21" fmla="*/ 680079 w 1640193"/>
                  <a:gd name="connsiteY21" fmla="*/ 4948 h 154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0193" h="1544187">
                    <a:moveTo>
                      <a:pt x="159062" y="1544188"/>
                    </a:moveTo>
                    <a:cubicBezTo>
                      <a:pt x="109532" y="1544188"/>
                      <a:pt x="62859" y="1521328"/>
                      <a:pt x="32379" y="1480370"/>
                    </a:cubicBezTo>
                    <a:cubicBezTo>
                      <a:pt x="-2863" y="1434650"/>
                      <a:pt x="-9531" y="1374643"/>
                      <a:pt x="13329" y="1321303"/>
                    </a:cubicBezTo>
                    <a:lnTo>
                      <a:pt x="532442" y="97340"/>
                    </a:lnTo>
                    <a:cubicBezTo>
                      <a:pt x="555302" y="44000"/>
                      <a:pt x="602927" y="7805"/>
                      <a:pt x="660077" y="1138"/>
                    </a:cubicBezTo>
                    <a:cubicBezTo>
                      <a:pt x="717227" y="-5530"/>
                      <a:pt x="772472" y="17330"/>
                      <a:pt x="806762" y="64003"/>
                    </a:cubicBezTo>
                    <a:lnTo>
                      <a:pt x="1607814" y="1126040"/>
                    </a:lnTo>
                    <a:cubicBezTo>
                      <a:pt x="1643057" y="1171760"/>
                      <a:pt x="1649724" y="1231768"/>
                      <a:pt x="1626864" y="1285108"/>
                    </a:cubicBezTo>
                    <a:cubicBezTo>
                      <a:pt x="1604004" y="1338448"/>
                      <a:pt x="1556379" y="1374643"/>
                      <a:pt x="1499229" y="1381310"/>
                    </a:cubicBezTo>
                    <a:lnTo>
                      <a:pt x="179064" y="1543235"/>
                    </a:lnTo>
                    <a:cubicBezTo>
                      <a:pt x="172397" y="1544188"/>
                      <a:pt x="165729" y="1544188"/>
                      <a:pt x="159062" y="1544188"/>
                    </a:cubicBezTo>
                    <a:close/>
                    <a:moveTo>
                      <a:pt x="680079" y="4948"/>
                    </a:moveTo>
                    <a:cubicBezTo>
                      <a:pt x="673412" y="4948"/>
                      <a:pt x="666744" y="4948"/>
                      <a:pt x="661029" y="5900"/>
                    </a:cubicBezTo>
                    <a:cubicBezTo>
                      <a:pt x="605784" y="12568"/>
                      <a:pt x="559112" y="47810"/>
                      <a:pt x="538157" y="99245"/>
                    </a:cubicBezTo>
                    <a:lnTo>
                      <a:pt x="18092" y="1324160"/>
                    </a:lnTo>
                    <a:cubicBezTo>
                      <a:pt x="-3816" y="1375595"/>
                      <a:pt x="2852" y="1432745"/>
                      <a:pt x="37142" y="1477513"/>
                    </a:cubicBezTo>
                    <a:cubicBezTo>
                      <a:pt x="70479" y="1522280"/>
                      <a:pt x="123819" y="1544188"/>
                      <a:pt x="179064" y="1537520"/>
                    </a:cubicBezTo>
                    <a:lnTo>
                      <a:pt x="1499229" y="1375595"/>
                    </a:lnTo>
                    <a:cubicBezTo>
                      <a:pt x="1554474" y="1368928"/>
                      <a:pt x="1601147" y="1333685"/>
                      <a:pt x="1622102" y="1282250"/>
                    </a:cubicBezTo>
                    <a:cubicBezTo>
                      <a:pt x="1644009" y="1230815"/>
                      <a:pt x="1637342" y="1173665"/>
                      <a:pt x="1603052" y="1128898"/>
                    </a:cubicBezTo>
                    <a:lnTo>
                      <a:pt x="802952" y="66860"/>
                    </a:lnTo>
                    <a:cubicBezTo>
                      <a:pt x="773424" y="27808"/>
                      <a:pt x="728657" y="4948"/>
                      <a:pt x="680079" y="4948"/>
                    </a:cubicBezTo>
                    <a:close/>
                  </a:path>
                </a:pathLst>
              </a:custGeom>
              <a:grpFill/>
              <a:ln w="9525" cap="flat">
                <a:noFill/>
                <a:prstDash val="solid"/>
                <a:miter/>
              </a:ln>
            </p:spPr>
            <p:txBody>
              <a:bodyPr rtlCol="0" anchor="ctr"/>
              <a:lstStyle/>
              <a:p>
                <a:endParaRPr lang="en-US" sz="1730"/>
              </a:p>
            </p:txBody>
          </p:sp>
          <p:sp>
            <p:nvSpPr>
              <p:cNvPr id="59" name="Freeform: Shape 58">
                <a:extLst>
                  <a:ext uri="{FF2B5EF4-FFF2-40B4-BE49-F238E27FC236}">
                    <a16:creationId xmlns:a16="http://schemas.microsoft.com/office/drawing/2014/main" id="{6A50715D-06C2-4A50-B805-7C779755D7AD}"/>
                  </a:ext>
                </a:extLst>
              </p:cNvPr>
              <p:cNvSpPr/>
              <p:nvPr/>
            </p:nvSpPr>
            <p:spPr>
              <a:xfrm>
                <a:off x="5184232" y="2459493"/>
                <a:ext cx="1623190" cy="1584503"/>
              </a:xfrm>
              <a:custGeom>
                <a:avLst/>
                <a:gdLst>
                  <a:gd name="connsiteX0" fmla="*/ 1462629 w 1623190"/>
                  <a:gd name="connsiteY0" fmla="*/ 1584504 h 1584503"/>
                  <a:gd name="connsiteX1" fmla="*/ 1428339 w 1623190"/>
                  <a:gd name="connsiteY1" fmla="*/ 1580694 h 1584503"/>
                  <a:gd name="connsiteX2" fmla="*/ 127224 w 1623190"/>
                  <a:gd name="connsiteY2" fmla="*/ 1304469 h 1584503"/>
                  <a:gd name="connsiteX3" fmla="*/ 8162 w 1623190"/>
                  <a:gd name="connsiteY3" fmla="*/ 1197789 h 1584503"/>
                  <a:gd name="connsiteX4" fmla="*/ 41499 w 1623190"/>
                  <a:gd name="connsiteY4" fmla="*/ 1041579 h 1584503"/>
                  <a:gd name="connsiteX5" fmla="*/ 932087 w 1623190"/>
                  <a:gd name="connsiteY5" fmla="*/ 52884 h 1584503"/>
                  <a:gd name="connsiteX6" fmla="*/ 1084487 w 1623190"/>
                  <a:gd name="connsiteY6" fmla="*/ 3354 h 1584503"/>
                  <a:gd name="connsiteX7" fmla="*/ 1203549 w 1623190"/>
                  <a:gd name="connsiteY7" fmla="*/ 110034 h 1584503"/>
                  <a:gd name="connsiteX8" fmla="*/ 1615029 w 1623190"/>
                  <a:gd name="connsiteY8" fmla="*/ 1374954 h 1584503"/>
                  <a:gd name="connsiteX9" fmla="*/ 1581692 w 1623190"/>
                  <a:gd name="connsiteY9" fmla="*/ 1531164 h 1584503"/>
                  <a:gd name="connsiteX10" fmla="*/ 1462629 w 1623190"/>
                  <a:gd name="connsiteY10" fmla="*/ 1584504 h 1584503"/>
                  <a:gd name="connsiteX11" fmla="*/ 1050197 w 1623190"/>
                  <a:gd name="connsiteY11" fmla="*/ 5259 h 1584503"/>
                  <a:gd name="connsiteX12" fmla="*/ 935897 w 1623190"/>
                  <a:gd name="connsiteY12" fmla="*/ 56694 h 1584503"/>
                  <a:gd name="connsiteX13" fmla="*/ 45309 w 1623190"/>
                  <a:gd name="connsiteY13" fmla="*/ 1044436 h 1584503"/>
                  <a:gd name="connsiteX14" fmla="*/ 12924 w 1623190"/>
                  <a:gd name="connsiteY14" fmla="*/ 1194931 h 1584503"/>
                  <a:gd name="connsiteX15" fmla="*/ 127224 w 1623190"/>
                  <a:gd name="connsiteY15" fmla="*/ 1297801 h 1584503"/>
                  <a:gd name="connsiteX16" fmla="*/ 1428339 w 1623190"/>
                  <a:gd name="connsiteY16" fmla="*/ 1574026 h 1584503"/>
                  <a:gd name="connsiteX17" fmla="*/ 1575024 w 1623190"/>
                  <a:gd name="connsiteY17" fmla="*/ 1526401 h 1584503"/>
                  <a:gd name="connsiteX18" fmla="*/ 1607409 w 1623190"/>
                  <a:gd name="connsiteY18" fmla="*/ 1375906 h 1584503"/>
                  <a:gd name="connsiteX19" fmla="*/ 1197834 w 1623190"/>
                  <a:gd name="connsiteY19" fmla="*/ 111939 h 1584503"/>
                  <a:gd name="connsiteX20" fmla="*/ 1083534 w 1623190"/>
                  <a:gd name="connsiteY20" fmla="*/ 9069 h 1584503"/>
                  <a:gd name="connsiteX21" fmla="*/ 1050197 w 1623190"/>
                  <a:gd name="connsiteY21" fmla="*/ 5259 h 158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23190" h="1584503">
                    <a:moveTo>
                      <a:pt x="1462629" y="1584504"/>
                    </a:moveTo>
                    <a:cubicBezTo>
                      <a:pt x="1451199" y="1584504"/>
                      <a:pt x="1439769" y="1583551"/>
                      <a:pt x="1428339" y="1580694"/>
                    </a:cubicBezTo>
                    <a:lnTo>
                      <a:pt x="127224" y="1304469"/>
                    </a:lnTo>
                    <a:cubicBezTo>
                      <a:pt x="71027" y="1292086"/>
                      <a:pt x="26259" y="1252081"/>
                      <a:pt x="8162" y="1197789"/>
                    </a:cubicBezTo>
                    <a:cubicBezTo>
                      <a:pt x="-9936" y="1142544"/>
                      <a:pt x="2447" y="1084441"/>
                      <a:pt x="41499" y="1041579"/>
                    </a:cubicBezTo>
                    <a:lnTo>
                      <a:pt x="932087" y="52884"/>
                    </a:lnTo>
                    <a:cubicBezTo>
                      <a:pt x="971139" y="10021"/>
                      <a:pt x="1027337" y="-8076"/>
                      <a:pt x="1084487" y="3354"/>
                    </a:cubicBezTo>
                    <a:cubicBezTo>
                      <a:pt x="1140684" y="15736"/>
                      <a:pt x="1185452" y="55741"/>
                      <a:pt x="1203549" y="110034"/>
                    </a:cubicBezTo>
                    <a:lnTo>
                      <a:pt x="1615029" y="1374954"/>
                    </a:lnTo>
                    <a:cubicBezTo>
                      <a:pt x="1633127" y="1430199"/>
                      <a:pt x="1620744" y="1488301"/>
                      <a:pt x="1581692" y="1531164"/>
                    </a:cubicBezTo>
                    <a:cubicBezTo>
                      <a:pt x="1549307" y="1566406"/>
                      <a:pt x="1507397" y="1584504"/>
                      <a:pt x="1462629" y="1584504"/>
                    </a:cubicBezTo>
                    <a:close/>
                    <a:moveTo>
                      <a:pt x="1050197" y="5259"/>
                    </a:moveTo>
                    <a:cubicBezTo>
                      <a:pt x="1007334" y="5259"/>
                      <a:pt x="966377" y="23356"/>
                      <a:pt x="935897" y="56694"/>
                    </a:cubicBezTo>
                    <a:lnTo>
                      <a:pt x="45309" y="1044436"/>
                    </a:lnTo>
                    <a:cubicBezTo>
                      <a:pt x="8162" y="1086346"/>
                      <a:pt x="-4221" y="1142544"/>
                      <a:pt x="12924" y="1194931"/>
                    </a:cubicBezTo>
                    <a:cubicBezTo>
                      <a:pt x="30069" y="1248271"/>
                      <a:pt x="72932" y="1286371"/>
                      <a:pt x="127224" y="1297801"/>
                    </a:cubicBezTo>
                    <a:lnTo>
                      <a:pt x="1428339" y="1574026"/>
                    </a:lnTo>
                    <a:cubicBezTo>
                      <a:pt x="1482632" y="1585456"/>
                      <a:pt x="1537877" y="1567359"/>
                      <a:pt x="1575024" y="1526401"/>
                    </a:cubicBezTo>
                    <a:cubicBezTo>
                      <a:pt x="1612172" y="1484491"/>
                      <a:pt x="1624554" y="1428294"/>
                      <a:pt x="1607409" y="1375906"/>
                    </a:cubicBezTo>
                    <a:lnTo>
                      <a:pt x="1197834" y="111939"/>
                    </a:lnTo>
                    <a:cubicBezTo>
                      <a:pt x="1180689" y="58599"/>
                      <a:pt x="1137827" y="20499"/>
                      <a:pt x="1083534" y="9069"/>
                    </a:cubicBezTo>
                    <a:cubicBezTo>
                      <a:pt x="1072104" y="6211"/>
                      <a:pt x="1060674" y="5259"/>
                      <a:pt x="1050197" y="5259"/>
                    </a:cubicBezTo>
                    <a:close/>
                  </a:path>
                </a:pathLst>
              </a:custGeom>
              <a:grpFill/>
              <a:ln w="9525" cap="flat">
                <a:noFill/>
                <a:prstDash val="solid"/>
                <a:miter/>
              </a:ln>
            </p:spPr>
            <p:txBody>
              <a:bodyPr rtlCol="0" anchor="ctr"/>
              <a:lstStyle/>
              <a:p>
                <a:endParaRPr lang="en-US" sz="1730"/>
              </a:p>
            </p:txBody>
          </p:sp>
          <p:sp>
            <p:nvSpPr>
              <p:cNvPr id="60" name="Freeform: Shape 59">
                <a:extLst>
                  <a:ext uri="{FF2B5EF4-FFF2-40B4-BE49-F238E27FC236}">
                    <a16:creationId xmlns:a16="http://schemas.microsoft.com/office/drawing/2014/main" id="{76CB3FBA-91B0-4DCE-AC92-F9A18FF4D65A}"/>
                  </a:ext>
                </a:extLst>
              </p:cNvPr>
              <p:cNvSpPr/>
              <p:nvPr/>
            </p:nvSpPr>
            <p:spPr>
              <a:xfrm>
                <a:off x="5197133" y="2512353"/>
                <a:ext cx="1483088" cy="1650706"/>
              </a:xfrm>
              <a:custGeom>
                <a:avLst/>
                <a:gdLst>
                  <a:gd name="connsiteX0" fmla="*/ 1300186 w 1483088"/>
                  <a:gd name="connsiteY0" fmla="*/ 1650706 h 1650706"/>
                  <a:gd name="connsiteX1" fmla="*/ 1218271 w 1483088"/>
                  <a:gd name="connsiteY1" fmla="*/ 1627846 h 1650706"/>
                  <a:gd name="connsiteX2" fmla="*/ 77176 w 1483088"/>
                  <a:gd name="connsiteY2" fmla="*/ 942046 h 1650706"/>
                  <a:gd name="connsiteX3" fmla="*/ 23 w 1483088"/>
                  <a:gd name="connsiteY3" fmla="*/ 802029 h 1650706"/>
                  <a:gd name="connsiteX4" fmla="*/ 81938 w 1483088"/>
                  <a:gd name="connsiteY4" fmla="*/ 664869 h 1650706"/>
                  <a:gd name="connsiteX5" fmla="*/ 1245893 w 1483088"/>
                  <a:gd name="connsiteY5" fmla="*/ 20026 h 1650706"/>
                  <a:gd name="connsiteX6" fmla="*/ 1405913 w 1483088"/>
                  <a:gd name="connsiteY6" fmla="*/ 22884 h 1650706"/>
                  <a:gd name="connsiteX7" fmla="*/ 1483066 w 1483088"/>
                  <a:gd name="connsiteY7" fmla="*/ 162901 h 1650706"/>
                  <a:gd name="connsiteX8" fmla="*/ 1460206 w 1483088"/>
                  <a:gd name="connsiteY8" fmla="*/ 1493544 h 1650706"/>
                  <a:gd name="connsiteX9" fmla="*/ 1378291 w 1483088"/>
                  <a:gd name="connsiteY9" fmla="*/ 1630704 h 1650706"/>
                  <a:gd name="connsiteX10" fmla="*/ 1300186 w 1483088"/>
                  <a:gd name="connsiteY10" fmla="*/ 1650706 h 1650706"/>
                  <a:gd name="connsiteX11" fmla="*/ 1323046 w 1483088"/>
                  <a:gd name="connsiteY11" fmla="*/ 5739 h 1650706"/>
                  <a:gd name="connsiteX12" fmla="*/ 1247798 w 1483088"/>
                  <a:gd name="connsiteY12" fmla="*/ 25741 h 1650706"/>
                  <a:gd name="connsiteX13" fmla="*/ 84796 w 1483088"/>
                  <a:gd name="connsiteY13" fmla="*/ 669631 h 1650706"/>
                  <a:gd name="connsiteX14" fmla="*/ 5738 w 1483088"/>
                  <a:gd name="connsiteY14" fmla="*/ 802029 h 1650706"/>
                  <a:gd name="connsiteX15" fmla="*/ 80033 w 1483088"/>
                  <a:gd name="connsiteY15" fmla="*/ 937284 h 1650706"/>
                  <a:gd name="connsiteX16" fmla="*/ 1220176 w 1483088"/>
                  <a:gd name="connsiteY16" fmla="*/ 1622131 h 1650706"/>
                  <a:gd name="connsiteX17" fmla="*/ 1374481 w 1483088"/>
                  <a:gd name="connsiteY17" fmla="*/ 1624989 h 1650706"/>
                  <a:gd name="connsiteX18" fmla="*/ 1453538 w 1483088"/>
                  <a:gd name="connsiteY18" fmla="*/ 1492591 h 1650706"/>
                  <a:gd name="connsiteX19" fmla="*/ 1456396 w 1483088"/>
                  <a:gd name="connsiteY19" fmla="*/ 1492591 h 1650706"/>
                  <a:gd name="connsiteX20" fmla="*/ 1453538 w 1483088"/>
                  <a:gd name="connsiteY20" fmla="*/ 1492591 h 1650706"/>
                  <a:gd name="connsiteX21" fmla="*/ 1476398 w 1483088"/>
                  <a:gd name="connsiteY21" fmla="*/ 161949 h 1650706"/>
                  <a:gd name="connsiteX22" fmla="*/ 1401151 w 1483088"/>
                  <a:gd name="connsiteY22" fmla="*/ 26694 h 1650706"/>
                  <a:gd name="connsiteX23" fmla="*/ 1323046 w 1483088"/>
                  <a:gd name="connsiteY23" fmla="*/ 5739 h 16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3088" h="1650706">
                    <a:moveTo>
                      <a:pt x="1300186" y="1650706"/>
                    </a:moveTo>
                    <a:cubicBezTo>
                      <a:pt x="1271611" y="1650706"/>
                      <a:pt x="1243036" y="1643086"/>
                      <a:pt x="1218271" y="1627846"/>
                    </a:cubicBezTo>
                    <a:lnTo>
                      <a:pt x="77176" y="942046"/>
                    </a:lnTo>
                    <a:cubicBezTo>
                      <a:pt x="27646" y="912519"/>
                      <a:pt x="-929" y="860131"/>
                      <a:pt x="23" y="802029"/>
                    </a:cubicBezTo>
                    <a:cubicBezTo>
                      <a:pt x="976" y="743926"/>
                      <a:pt x="31456" y="693444"/>
                      <a:pt x="81938" y="664869"/>
                    </a:cubicBezTo>
                    <a:lnTo>
                      <a:pt x="1245893" y="20026"/>
                    </a:lnTo>
                    <a:cubicBezTo>
                      <a:pt x="1296376" y="-7596"/>
                      <a:pt x="1356383" y="-6644"/>
                      <a:pt x="1405913" y="22884"/>
                    </a:cubicBezTo>
                    <a:cubicBezTo>
                      <a:pt x="1455443" y="52411"/>
                      <a:pt x="1484018" y="104799"/>
                      <a:pt x="1483066" y="162901"/>
                    </a:cubicBezTo>
                    <a:lnTo>
                      <a:pt x="1460206" y="1493544"/>
                    </a:lnTo>
                    <a:cubicBezTo>
                      <a:pt x="1459253" y="1551646"/>
                      <a:pt x="1428773" y="1602129"/>
                      <a:pt x="1378291" y="1630704"/>
                    </a:cubicBezTo>
                    <a:cubicBezTo>
                      <a:pt x="1353526" y="1644039"/>
                      <a:pt x="1326856" y="1650706"/>
                      <a:pt x="1300186" y="1650706"/>
                    </a:cubicBezTo>
                    <a:close/>
                    <a:moveTo>
                      <a:pt x="1323046" y="5739"/>
                    </a:moveTo>
                    <a:cubicBezTo>
                      <a:pt x="1297328" y="5739"/>
                      <a:pt x="1271611" y="12406"/>
                      <a:pt x="1247798" y="25741"/>
                    </a:cubicBezTo>
                    <a:lnTo>
                      <a:pt x="84796" y="669631"/>
                    </a:lnTo>
                    <a:cubicBezTo>
                      <a:pt x="36218" y="696301"/>
                      <a:pt x="6691" y="745831"/>
                      <a:pt x="5738" y="802029"/>
                    </a:cubicBezTo>
                    <a:cubicBezTo>
                      <a:pt x="4786" y="858226"/>
                      <a:pt x="32408" y="908709"/>
                      <a:pt x="80033" y="937284"/>
                    </a:cubicBezTo>
                    <a:lnTo>
                      <a:pt x="1220176" y="1622131"/>
                    </a:lnTo>
                    <a:cubicBezTo>
                      <a:pt x="1267801" y="1650706"/>
                      <a:pt x="1325903" y="1651659"/>
                      <a:pt x="1374481" y="1624989"/>
                    </a:cubicBezTo>
                    <a:cubicBezTo>
                      <a:pt x="1423058" y="1598319"/>
                      <a:pt x="1452586" y="1548789"/>
                      <a:pt x="1453538" y="1492591"/>
                    </a:cubicBezTo>
                    <a:lnTo>
                      <a:pt x="1456396" y="1492591"/>
                    </a:lnTo>
                    <a:lnTo>
                      <a:pt x="1453538" y="1492591"/>
                    </a:lnTo>
                    <a:lnTo>
                      <a:pt x="1476398" y="161949"/>
                    </a:lnTo>
                    <a:cubicBezTo>
                      <a:pt x="1477351" y="105751"/>
                      <a:pt x="1449728" y="55269"/>
                      <a:pt x="1401151" y="26694"/>
                    </a:cubicBezTo>
                    <a:cubicBezTo>
                      <a:pt x="1378291" y="13359"/>
                      <a:pt x="1350668" y="5739"/>
                      <a:pt x="1323046" y="5739"/>
                    </a:cubicBezTo>
                    <a:close/>
                  </a:path>
                </a:pathLst>
              </a:custGeom>
              <a:grpFill/>
              <a:ln w="9525" cap="flat">
                <a:noFill/>
                <a:prstDash val="solid"/>
                <a:miter/>
              </a:ln>
            </p:spPr>
            <p:txBody>
              <a:bodyPr rtlCol="0" anchor="ctr"/>
              <a:lstStyle/>
              <a:p>
                <a:endParaRPr lang="en-US" sz="1730"/>
              </a:p>
            </p:txBody>
          </p:sp>
          <p:sp>
            <p:nvSpPr>
              <p:cNvPr id="61" name="Freeform: Shape 60">
                <a:extLst>
                  <a:ext uri="{FF2B5EF4-FFF2-40B4-BE49-F238E27FC236}">
                    <a16:creationId xmlns:a16="http://schemas.microsoft.com/office/drawing/2014/main" id="{22045ED4-534F-4B15-8795-D2C7547978FE}"/>
                  </a:ext>
                </a:extLst>
              </p:cNvPr>
              <p:cNvSpPr/>
              <p:nvPr/>
            </p:nvSpPr>
            <p:spPr>
              <a:xfrm>
                <a:off x="5302425" y="2655449"/>
                <a:ext cx="1631597" cy="1570475"/>
              </a:xfrm>
              <a:custGeom>
                <a:avLst/>
                <a:gdLst>
                  <a:gd name="connsiteX0" fmla="*/ 1014871 w 1631597"/>
                  <a:gd name="connsiteY0" fmla="*/ 1570476 h 1570475"/>
                  <a:gd name="connsiteX1" fmla="*/ 892951 w 1631597"/>
                  <a:gd name="connsiteY1" fmla="*/ 1513326 h 1570475"/>
                  <a:gd name="connsiteX2" fmla="*/ 37606 w 1631597"/>
                  <a:gd name="connsiteY2" fmla="*/ 494151 h 1570475"/>
                  <a:gd name="connsiteX3" fmla="*/ 9984 w 1631597"/>
                  <a:gd name="connsiteY3" fmla="*/ 336988 h 1570475"/>
                  <a:gd name="connsiteX4" fmla="*/ 132856 w 1631597"/>
                  <a:gd name="connsiteY4" fmla="*/ 234118 h 1570475"/>
                  <a:gd name="connsiteX5" fmla="*/ 1443496 w 1631597"/>
                  <a:gd name="connsiteY5" fmla="*/ 2660 h 1570475"/>
                  <a:gd name="connsiteX6" fmla="*/ 1593991 w 1631597"/>
                  <a:gd name="connsiteY6" fmla="*/ 56953 h 1570475"/>
                  <a:gd name="connsiteX7" fmla="*/ 1621614 w 1631597"/>
                  <a:gd name="connsiteY7" fmla="*/ 214115 h 1570475"/>
                  <a:gd name="connsiteX8" fmla="*/ 1166319 w 1631597"/>
                  <a:gd name="connsiteY8" fmla="*/ 1464748 h 1570475"/>
                  <a:gd name="connsiteX9" fmla="*/ 1043446 w 1631597"/>
                  <a:gd name="connsiteY9" fmla="*/ 1567618 h 1570475"/>
                  <a:gd name="connsiteX10" fmla="*/ 1014871 w 1631597"/>
                  <a:gd name="connsiteY10" fmla="*/ 1570476 h 1570475"/>
                  <a:gd name="connsiteX11" fmla="*/ 1471119 w 1631597"/>
                  <a:gd name="connsiteY11" fmla="*/ 6470 h 1570475"/>
                  <a:gd name="connsiteX12" fmla="*/ 1443496 w 1631597"/>
                  <a:gd name="connsiteY12" fmla="*/ 9328 h 1570475"/>
                  <a:gd name="connsiteX13" fmla="*/ 133809 w 1631597"/>
                  <a:gd name="connsiteY13" fmla="*/ 239833 h 1570475"/>
                  <a:gd name="connsiteX14" fmla="*/ 15699 w 1631597"/>
                  <a:gd name="connsiteY14" fmla="*/ 338893 h 1570475"/>
                  <a:gd name="connsiteX15" fmla="*/ 42369 w 1631597"/>
                  <a:gd name="connsiteY15" fmla="*/ 491293 h 1570475"/>
                  <a:gd name="connsiteX16" fmla="*/ 897714 w 1631597"/>
                  <a:gd name="connsiteY16" fmla="*/ 1510468 h 1570475"/>
                  <a:gd name="connsiteX17" fmla="*/ 1042494 w 1631597"/>
                  <a:gd name="connsiteY17" fmla="*/ 1562856 h 1570475"/>
                  <a:gd name="connsiteX18" fmla="*/ 1160604 w 1631597"/>
                  <a:gd name="connsiteY18" fmla="*/ 1463796 h 1570475"/>
                  <a:gd name="connsiteX19" fmla="*/ 1163461 w 1631597"/>
                  <a:gd name="connsiteY19" fmla="*/ 1464748 h 1570475"/>
                  <a:gd name="connsiteX20" fmla="*/ 1160604 w 1631597"/>
                  <a:gd name="connsiteY20" fmla="*/ 1463796 h 1570475"/>
                  <a:gd name="connsiteX21" fmla="*/ 1615899 w 1631597"/>
                  <a:gd name="connsiteY21" fmla="*/ 213163 h 1570475"/>
                  <a:gd name="connsiteX22" fmla="*/ 1589229 w 1631597"/>
                  <a:gd name="connsiteY22" fmla="*/ 60763 h 1570475"/>
                  <a:gd name="connsiteX23" fmla="*/ 1471119 w 1631597"/>
                  <a:gd name="connsiteY23" fmla="*/ 6470 h 157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1597" h="1570475">
                    <a:moveTo>
                      <a:pt x="1014871" y="1570476"/>
                    </a:moveTo>
                    <a:cubicBezTo>
                      <a:pt x="968199" y="1570476"/>
                      <a:pt x="924384" y="1550473"/>
                      <a:pt x="892951" y="1513326"/>
                    </a:cubicBezTo>
                    <a:lnTo>
                      <a:pt x="37606" y="494151"/>
                    </a:lnTo>
                    <a:cubicBezTo>
                      <a:pt x="459" y="450336"/>
                      <a:pt x="-10019" y="391281"/>
                      <a:pt x="9984" y="336988"/>
                    </a:cubicBezTo>
                    <a:cubicBezTo>
                      <a:pt x="29986" y="282695"/>
                      <a:pt x="75706" y="244595"/>
                      <a:pt x="132856" y="234118"/>
                    </a:cubicBezTo>
                    <a:lnTo>
                      <a:pt x="1443496" y="2660"/>
                    </a:lnTo>
                    <a:cubicBezTo>
                      <a:pt x="1500646" y="-7817"/>
                      <a:pt x="1556844" y="13138"/>
                      <a:pt x="1593991" y="56953"/>
                    </a:cubicBezTo>
                    <a:cubicBezTo>
                      <a:pt x="1631139" y="100768"/>
                      <a:pt x="1641616" y="159823"/>
                      <a:pt x="1621614" y="214115"/>
                    </a:cubicBezTo>
                    <a:lnTo>
                      <a:pt x="1166319" y="1464748"/>
                    </a:lnTo>
                    <a:cubicBezTo>
                      <a:pt x="1146316" y="1519041"/>
                      <a:pt x="1100596" y="1557141"/>
                      <a:pt x="1043446" y="1567618"/>
                    </a:cubicBezTo>
                    <a:cubicBezTo>
                      <a:pt x="1033921" y="1569523"/>
                      <a:pt x="1024396" y="1570476"/>
                      <a:pt x="1014871" y="1570476"/>
                    </a:cubicBezTo>
                    <a:close/>
                    <a:moveTo>
                      <a:pt x="1471119" y="6470"/>
                    </a:moveTo>
                    <a:cubicBezTo>
                      <a:pt x="1461594" y="6470"/>
                      <a:pt x="1453021" y="7423"/>
                      <a:pt x="1443496" y="9328"/>
                    </a:cubicBezTo>
                    <a:lnTo>
                      <a:pt x="133809" y="239833"/>
                    </a:lnTo>
                    <a:cubicBezTo>
                      <a:pt x="78564" y="249358"/>
                      <a:pt x="34749" y="286506"/>
                      <a:pt x="15699" y="338893"/>
                    </a:cubicBezTo>
                    <a:cubicBezTo>
                      <a:pt x="-3351" y="391281"/>
                      <a:pt x="6174" y="448430"/>
                      <a:pt x="42369" y="491293"/>
                    </a:cubicBezTo>
                    <a:lnTo>
                      <a:pt x="897714" y="1510468"/>
                    </a:lnTo>
                    <a:cubicBezTo>
                      <a:pt x="933909" y="1553331"/>
                      <a:pt x="988201" y="1573333"/>
                      <a:pt x="1042494" y="1562856"/>
                    </a:cubicBezTo>
                    <a:cubicBezTo>
                      <a:pt x="1097739" y="1553331"/>
                      <a:pt x="1141554" y="1516183"/>
                      <a:pt x="1160604" y="1463796"/>
                    </a:cubicBezTo>
                    <a:lnTo>
                      <a:pt x="1163461" y="1464748"/>
                    </a:lnTo>
                    <a:lnTo>
                      <a:pt x="1160604" y="1463796"/>
                    </a:lnTo>
                    <a:lnTo>
                      <a:pt x="1615899" y="213163"/>
                    </a:lnTo>
                    <a:cubicBezTo>
                      <a:pt x="1634949" y="160775"/>
                      <a:pt x="1625424" y="103625"/>
                      <a:pt x="1589229" y="60763"/>
                    </a:cubicBezTo>
                    <a:cubicBezTo>
                      <a:pt x="1558749" y="25520"/>
                      <a:pt x="1515886" y="6470"/>
                      <a:pt x="1471119" y="6470"/>
                    </a:cubicBezTo>
                    <a:close/>
                  </a:path>
                </a:pathLst>
              </a:custGeom>
              <a:grpFill/>
              <a:ln w="9525" cap="flat">
                <a:noFill/>
                <a:prstDash val="solid"/>
                <a:miter/>
              </a:ln>
            </p:spPr>
            <p:txBody>
              <a:bodyPr rtlCol="0" anchor="ctr"/>
              <a:lstStyle/>
              <a:p>
                <a:endParaRPr lang="en-US" sz="1730"/>
              </a:p>
            </p:txBody>
          </p:sp>
          <p:sp>
            <p:nvSpPr>
              <p:cNvPr id="62" name="Freeform: Shape 61">
                <a:extLst>
                  <a:ext uri="{FF2B5EF4-FFF2-40B4-BE49-F238E27FC236}">
                    <a16:creationId xmlns:a16="http://schemas.microsoft.com/office/drawing/2014/main" id="{FEE68F87-0B6B-4885-866B-61423AE3724E}"/>
                  </a:ext>
                </a:extLst>
              </p:cNvPr>
              <p:cNvSpPr/>
              <p:nvPr/>
            </p:nvSpPr>
            <p:spPr>
              <a:xfrm>
                <a:off x="5490992" y="2665438"/>
                <a:ext cx="1634512" cy="1562390"/>
              </a:xfrm>
              <a:custGeom>
                <a:avLst/>
                <a:gdLst>
                  <a:gd name="connsiteX0" fmla="*/ 637710 w 1634512"/>
                  <a:gd name="connsiteY0" fmla="*/ 1562391 h 1562390"/>
                  <a:gd name="connsiteX1" fmla="*/ 611992 w 1634512"/>
                  <a:gd name="connsiteY1" fmla="*/ 1560486 h 1562390"/>
                  <a:gd name="connsiteX2" fmla="*/ 488167 w 1634512"/>
                  <a:gd name="connsiteY2" fmla="*/ 1459521 h 1562390"/>
                  <a:gd name="connsiteX3" fmla="*/ 10965 w 1634512"/>
                  <a:gd name="connsiteY3" fmla="*/ 217461 h 1562390"/>
                  <a:gd name="connsiteX4" fmla="*/ 35730 w 1634512"/>
                  <a:gd name="connsiteY4" fmla="*/ 59346 h 1562390"/>
                  <a:gd name="connsiteX5" fmla="*/ 185272 w 1634512"/>
                  <a:gd name="connsiteY5" fmla="*/ 2196 h 1562390"/>
                  <a:gd name="connsiteX6" fmla="*/ 1499723 w 1634512"/>
                  <a:gd name="connsiteY6" fmla="*/ 209841 h 1562390"/>
                  <a:gd name="connsiteX7" fmla="*/ 1623548 w 1634512"/>
                  <a:gd name="connsiteY7" fmla="*/ 310806 h 1562390"/>
                  <a:gd name="connsiteX8" fmla="*/ 1598782 w 1634512"/>
                  <a:gd name="connsiteY8" fmla="*/ 468921 h 1562390"/>
                  <a:gd name="connsiteX9" fmla="*/ 761535 w 1634512"/>
                  <a:gd name="connsiteY9" fmla="*/ 1502383 h 1562390"/>
                  <a:gd name="connsiteX10" fmla="*/ 759630 w 1634512"/>
                  <a:gd name="connsiteY10" fmla="*/ 1500478 h 1562390"/>
                  <a:gd name="connsiteX11" fmla="*/ 761535 w 1634512"/>
                  <a:gd name="connsiteY11" fmla="*/ 1502383 h 1562390"/>
                  <a:gd name="connsiteX12" fmla="*/ 637710 w 1634512"/>
                  <a:gd name="connsiteY12" fmla="*/ 1562391 h 1562390"/>
                  <a:gd name="connsiteX13" fmla="*/ 159555 w 1634512"/>
                  <a:gd name="connsiteY13" fmla="*/ 6006 h 1562390"/>
                  <a:gd name="connsiteX14" fmla="*/ 40492 w 1634512"/>
                  <a:gd name="connsiteY14" fmla="*/ 63156 h 1562390"/>
                  <a:gd name="connsiteX15" fmla="*/ 16680 w 1634512"/>
                  <a:gd name="connsiteY15" fmla="*/ 215556 h 1562390"/>
                  <a:gd name="connsiteX16" fmla="*/ 493882 w 1634512"/>
                  <a:gd name="connsiteY16" fmla="*/ 1457616 h 1562390"/>
                  <a:gd name="connsiteX17" fmla="*/ 613897 w 1634512"/>
                  <a:gd name="connsiteY17" fmla="*/ 1554771 h 1562390"/>
                  <a:gd name="connsiteX18" fmla="*/ 757725 w 1634512"/>
                  <a:gd name="connsiteY18" fmla="*/ 1499526 h 1562390"/>
                  <a:gd name="connsiteX19" fmla="*/ 1594020 w 1634512"/>
                  <a:gd name="connsiteY19" fmla="*/ 465111 h 1562390"/>
                  <a:gd name="connsiteX20" fmla="*/ 1617832 w 1634512"/>
                  <a:gd name="connsiteY20" fmla="*/ 312711 h 1562390"/>
                  <a:gd name="connsiteX21" fmla="*/ 1497817 w 1634512"/>
                  <a:gd name="connsiteY21" fmla="*/ 215556 h 1562390"/>
                  <a:gd name="connsiteX22" fmla="*/ 184320 w 1634512"/>
                  <a:gd name="connsiteY22" fmla="*/ 7911 h 1562390"/>
                  <a:gd name="connsiteX23" fmla="*/ 159555 w 1634512"/>
                  <a:gd name="connsiteY23" fmla="*/ 6006 h 156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4512" h="1562390">
                    <a:moveTo>
                      <a:pt x="637710" y="1562391"/>
                    </a:moveTo>
                    <a:cubicBezTo>
                      <a:pt x="629137" y="1562391"/>
                      <a:pt x="620565" y="1561438"/>
                      <a:pt x="611992" y="1560486"/>
                    </a:cubicBezTo>
                    <a:cubicBezTo>
                      <a:pt x="554842" y="1551913"/>
                      <a:pt x="508170" y="1513813"/>
                      <a:pt x="488167" y="1459521"/>
                    </a:cubicBezTo>
                    <a:lnTo>
                      <a:pt x="10965" y="217461"/>
                    </a:lnTo>
                    <a:cubicBezTo>
                      <a:pt x="-9990" y="163168"/>
                      <a:pt x="-465" y="104113"/>
                      <a:pt x="35730" y="59346"/>
                    </a:cubicBezTo>
                    <a:cubicBezTo>
                      <a:pt x="71925" y="14578"/>
                      <a:pt x="128122" y="-7329"/>
                      <a:pt x="185272" y="2196"/>
                    </a:cubicBezTo>
                    <a:lnTo>
                      <a:pt x="1499723" y="209841"/>
                    </a:lnTo>
                    <a:cubicBezTo>
                      <a:pt x="1556873" y="218413"/>
                      <a:pt x="1603545" y="256513"/>
                      <a:pt x="1623548" y="310806"/>
                    </a:cubicBezTo>
                    <a:cubicBezTo>
                      <a:pt x="1644502" y="365098"/>
                      <a:pt x="1634977" y="424153"/>
                      <a:pt x="1598782" y="468921"/>
                    </a:cubicBezTo>
                    <a:lnTo>
                      <a:pt x="761535" y="1502383"/>
                    </a:lnTo>
                    <a:lnTo>
                      <a:pt x="759630" y="1500478"/>
                    </a:lnTo>
                    <a:lnTo>
                      <a:pt x="761535" y="1502383"/>
                    </a:lnTo>
                    <a:cubicBezTo>
                      <a:pt x="730102" y="1541436"/>
                      <a:pt x="685335" y="1562391"/>
                      <a:pt x="637710" y="1562391"/>
                    </a:cubicBezTo>
                    <a:close/>
                    <a:moveTo>
                      <a:pt x="159555" y="6006"/>
                    </a:moveTo>
                    <a:cubicBezTo>
                      <a:pt x="113835" y="6006"/>
                      <a:pt x="70020" y="26008"/>
                      <a:pt x="40492" y="63156"/>
                    </a:cubicBezTo>
                    <a:cubicBezTo>
                      <a:pt x="5250" y="106971"/>
                      <a:pt x="-3323" y="163168"/>
                      <a:pt x="16680" y="215556"/>
                    </a:cubicBezTo>
                    <a:lnTo>
                      <a:pt x="493882" y="1457616"/>
                    </a:lnTo>
                    <a:cubicBezTo>
                      <a:pt x="513885" y="1510003"/>
                      <a:pt x="558652" y="1546198"/>
                      <a:pt x="613897" y="1554771"/>
                    </a:cubicBezTo>
                    <a:cubicBezTo>
                      <a:pt x="669142" y="1563343"/>
                      <a:pt x="722482" y="1542388"/>
                      <a:pt x="757725" y="1499526"/>
                    </a:cubicBezTo>
                    <a:lnTo>
                      <a:pt x="1594020" y="465111"/>
                    </a:lnTo>
                    <a:cubicBezTo>
                      <a:pt x="1629262" y="421296"/>
                      <a:pt x="1637835" y="365098"/>
                      <a:pt x="1617832" y="312711"/>
                    </a:cubicBezTo>
                    <a:cubicBezTo>
                      <a:pt x="1597830" y="260323"/>
                      <a:pt x="1553062" y="224128"/>
                      <a:pt x="1497817" y="215556"/>
                    </a:cubicBezTo>
                    <a:lnTo>
                      <a:pt x="184320" y="7911"/>
                    </a:lnTo>
                    <a:cubicBezTo>
                      <a:pt x="175747" y="6958"/>
                      <a:pt x="167175" y="6006"/>
                      <a:pt x="159555" y="6006"/>
                    </a:cubicBezTo>
                    <a:close/>
                  </a:path>
                </a:pathLst>
              </a:custGeom>
              <a:grpFill/>
              <a:ln w="9525" cap="flat">
                <a:noFill/>
                <a:prstDash val="solid"/>
                <a:miter/>
              </a:ln>
            </p:spPr>
            <p:txBody>
              <a:bodyPr rtlCol="0" anchor="ctr"/>
              <a:lstStyle/>
              <a:p>
                <a:endParaRPr lang="en-US" sz="1730"/>
              </a:p>
            </p:txBody>
          </p:sp>
          <p:sp>
            <p:nvSpPr>
              <p:cNvPr id="63" name="Freeform: Shape 62">
                <a:extLst>
                  <a:ext uri="{FF2B5EF4-FFF2-40B4-BE49-F238E27FC236}">
                    <a16:creationId xmlns:a16="http://schemas.microsoft.com/office/drawing/2014/main" id="{E99B4F58-0E6C-41DE-99A2-C3FCE7F11DB0}"/>
                  </a:ext>
                </a:extLst>
              </p:cNvPr>
              <p:cNvSpPr/>
              <p:nvPr/>
            </p:nvSpPr>
            <p:spPr>
              <a:xfrm>
                <a:off x="5740942" y="2518472"/>
                <a:ext cx="1494657" cy="1649348"/>
              </a:xfrm>
              <a:custGeom>
                <a:avLst/>
                <a:gdLst>
                  <a:gd name="connsiteX0" fmla="*/ 206785 w 1494657"/>
                  <a:gd name="connsiteY0" fmla="*/ 1649349 h 1649348"/>
                  <a:gd name="connsiteX1" fmla="*/ 131537 w 1494657"/>
                  <a:gd name="connsiteY1" fmla="*/ 1630299 h 1649348"/>
                  <a:gd name="connsiteX2" fmla="*/ 46765 w 1494657"/>
                  <a:gd name="connsiteY2" fmla="*/ 1495044 h 1649348"/>
                  <a:gd name="connsiteX3" fmla="*/ 92 w 1494657"/>
                  <a:gd name="connsiteY3" fmla="*/ 165354 h 1649348"/>
                  <a:gd name="connsiteX4" fmla="*/ 75340 w 1494657"/>
                  <a:gd name="connsiteY4" fmla="*/ 24384 h 1649348"/>
                  <a:gd name="connsiteX5" fmla="*/ 235360 w 1494657"/>
                  <a:gd name="connsiteY5" fmla="*/ 18669 h 1649348"/>
                  <a:gd name="connsiteX6" fmla="*/ 1409792 w 1494657"/>
                  <a:gd name="connsiteY6" fmla="*/ 643509 h 1649348"/>
                  <a:gd name="connsiteX7" fmla="*/ 1494565 w 1494657"/>
                  <a:gd name="connsiteY7" fmla="*/ 778764 h 1649348"/>
                  <a:gd name="connsiteX8" fmla="*/ 1419317 w 1494657"/>
                  <a:gd name="connsiteY8" fmla="*/ 919734 h 1649348"/>
                  <a:gd name="connsiteX9" fmla="*/ 291557 w 1494657"/>
                  <a:gd name="connsiteY9" fmla="*/ 1624584 h 1649348"/>
                  <a:gd name="connsiteX10" fmla="*/ 206785 w 1494657"/>
                  <a:gd name="connsiteY10" fmla="*/ 1649349 h 1649348"/>
                  <a:gd name="connsiteX11" fmla="*/ 160112 w 1494657"/>
                  <a:gd name="connsiteY11" fmla="*/ 4381 h 1649348"/>
                  <a:gd name="connsiteX12" fmla="*/ 78197 w 1494657"/>
                  <a:gd name="connsiteY12" fmla="*/ 28194 h 1649348"/>
                  <a:gd name="connsiteX13" fmla="*/ 5807 w 1494657"/>
                  <a:gd name="connsiteY13" fmla="*/ 164402 h 1649348"/>
                  <a:gd name="connsiteX14" fmla="*/ 52480 w 1494657"/>
                  <a:gd name="connsiteY14" fmla="*/ 1494092 h 1649348"/>
                  <a:gd name="connsiteX15" fmla="*/ 134395 w 1494657"/>
                  <a:gd name="connsiteY15" fmla="*/ 1624584 h 1649348"/>
                  <a:gd name="connsiteX16" fmla="*/ 288700 w 1494657"/>
                  <a:gd name="connsiteY16" fmla="*/ 1618869 h 1649348"/>
                  <a:gd name="connsiteX17" fmla="*/ 290605 w 1494657"/>
                  <a:gd name="connsiteY17" fmla="*/ 1620774 h 1649348"/>
                  <a:gd name="connsiteX18" fmla="*/ 288700 w 1494657"/>
                  <a:gd name="connsiteY18" fmla="*/ 1618869 h 1649348"/>
                  <a:gd name="connsiteX19" fmla="*/ 1416460 w 1494657"/>
                  <a:gd name="connsiteY19" fmla="*/ 914019 h 1649348"/>
                  <a:gd name="connsiteX20" fmla="*/ 1488850 w 1494657"/>
                  <a:gd name="connsiteY20" fmla="*/ 777812 h 1649348"/>
                  <a:gd name="connsiteX21" fmla="*/ 1406935 w 1494657"/>
                  <a:gd name="connsiteY21" fmla="*/ 647319 h 1649348"/>
                  <a:gd name="connsiteX22" fmla="*/ 232502 w 1494657"/>
                  <a:gd name="connsiteY22" fmla="*/ 23431 h 1649348"/>
                  <a:gd name="connsiteX23" fmla="*/ 160112 w 1494657"/>
                  <a:gd name="connsiteY23" fmla="*/ 4381 h 164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4657" h="1649348">
                    <a:moveTo>
                      <a:pt x="206785" y="1649349"/>
                    </a:moveTo>
                    <a:cubicBezTo>
                      <a:pt x="181067" y="1649349"/>
                      <a:pt x="155350" y="1642682"/>
                      <a:pt x="131537" y="1630299"/>
                    </a:cubicBezTo>
                    <a:cubicBezTo>
                      <a:pt x="80102" y="1603629"/>
                      <a:pt x="48670" y="1552194"/>
                      <a:pt x="46765" y="1495044"/>
                    </a:cubicBezTo>
                    <a:lnTo>
                      <a:pt x="92" y="165354"/>
                    </a:lnTo>
                    <a:cubicBezTo>
                      <a:pt x="-1813" y="107252"/>
                      <a:pt x="25810" y="54864"/>
                      <a:pt x="75340" y="24384"/>
                    </a:cubicBezTo>
                    <a:cubicBezTo>
                      <a:pt x="123917" y="-6096"/>
                      <a:pt x="183925" y="-8001"/>
                      <a:pt x="235360" y="18669"/>
                    </a:cubicBezTo>
                    <a:lnTo>
                      <a:pt x="1409792" y="643509"/>
                    </a:lnTo>
                    <a:cubicBezTo>
                      <a:pt x="1461228" y="670179"/>
                      <a:pt x="1492660" y="721614"/>
                      <a:pt x="1494565" y="778764"/>
                    </a:cubicBezTo>
                    <a:cubicBezTo>
                      <a:pt x="1496470" y="836867"/>
                      <a:pt x="1468848" y="889254"/>
                      <a:pt x="1419317" y="919734"/>
                    </a:cubicBezTo>
                    <a:lnTo>
                      <a:pt x="291557" y="1624584"/>
                    </a:lnTo>
                    <a:cubicBezTo>
                      <a:pt x="264887" y="1640777"/>
                      <a:pt x="236312" y="1649349"/>
                      <a:pt x="206785" y="1649349"/>
                    </a:cubicBezTo>
                    <a:close/>
                    <a:moveTo>
                      <a:pt x="160112" y="4381"/>
                    </a:moveTo>
                    <a:cubicBezTo>
                      <a:pt x="131537" y="4381"/>
                      <a:pt x="103915" y="12002"/>
                      <a:pt x="78197" y="28194"/>
                    </a:cubicBezTo>
                    <a:cubicBezTo>
                      <a:pt x="30572" y="57722"/>
                      <a:pt x="3902" y="109157"/>
                      <a:pt x="5807" y="164402"/>
                    </a:cubicBezTo>
                    <a:lnTo>
                      <a:pt x="52480" y="1494092"/>
                    </a:lnTo>
                    <a:cubicBezTo>
                      <a:pt x="54385" y="1550289"/>
                      <a:pt x="84865" y="1598867"/>
                      <a:pt x="134395" y="1624584"/>
                    </a:cubicBezTo>
                    <a:cubicBezTo>
                      <a:pt x="183925" y="1651254"/>
                      <a:pt x="241075" y="1648397"/>
                      <a:pt x="288700" y="1618869"/>
                    </a:cubicBezTo>
                    <a:lnTo>
                      <a:pt x="290605" y="1620774"/>
                    </a:lnTo>
                    <a:lnTo>
                      <a:pt x="288700" y="1618869"/>
                    </a:lnTo>
                    <a:lnTo>
                      <a:pt x="1416460" y="914019"/>
                    </a:lnTo>
                    <a:cubicBezTo>
                      <a:pt x="1464085" y="884492"/>
                      <a:pt x="1490755" y="833057"/>
                      <a:pt x="1488850" y="777812"/>
                    </a:cubicBezTo>
                    <a:cubicBezTo>
                      <a:pt x="1486945" y="721614"/>
                      <a:pt x="1456465" y="673037"/>
                      <a:pt x="1406935" y="647319"/>
                    </a:cubicBezTo>
                    <a:lnTo>
                      <a:pt x="232502" y="23431"/>
                    </a:lnTo>
                    <a:cubicBezTo>
                      <a:pt x="209642" y="11049"/>
                      <a:pt x="184877" y="4381"/>
                      <a:pt x="160112" y="4381"/>
                    </a:cubicBezTo>
                    <a:close/>
                  </a:path>
                </a:pathLst>
              </a:custGeom>
              <a:grpFill/>
              <a:ln w="9525" cap="flat">
                <a:noFill/>
                <a:prstDash val="solid"/>
                <a:miter/>
              </a:ln>
            </p:spPr>
            <p:txBody>
              <a:bodyPr rtlCol="0" anchor="ctr"/>
              <a:lstStyle/>
              <a:p>
                <a:endParaRPr lang="en-US" sz="1730"/>
              </a:p>
            </p:txBody>
          </p:sp>
          <p:sp>
            <p:nvSpPr>
              <p:cNvPr id="64" name="Freeform: Shape 63">
                <a:extLst>
                  <a:ext uri="{FF2B5EF4-FFF2-40B4-BE49-F238E27FC236}">
                    <a16:creationId xmlns:a16="http://schemas.microsoft.com/office/drawing/2014/main" id="{98213603-4044-4EDC-B3E0-CE20E3EE9BC2}"/>
                  </a:ext>
                </a:extLst>
              </p:cNvPr>
              <p:cNvSpPr/>
              <p:nvPr/>
            </p:nvSpPr>
            <p:spPr>
              <a:xfrm>
                <a:off x="5636186" y="2459480"/>
                <a:ext cx="1616538" cy="1592136"/>
              </a:xfrm>
              <a:custGeom>
                <a:avLst/>
                <a:gdLst>
                  <a:gd name="connsiteX0" fmla="*/ 159141 w 1616538"/>
                  <a:gd name="connsiteY0" fmla="*/ 1592136 h 1592136"/>
                  <a:gd name="connsiteX1" fmla="*/ 42936 w 1616538"/>
                  <a:gd name="connsiteY1" fmla="*/ 1541654 h 1592136"/>
                  <a:gd name="connsiteX2" fmla="*/ 6741 w 1616538"/>
                  <a:gd name="connsiteY2" fmla="*/ 1385444 h 1592136"/>
                  <a:gd name="connsiteX3" fmla="*/ 396313 w 1616538"/>
                  <a:gd name="connsiteY3" fmla="*/ 112904 h 1592136"/>
                  <a:gd name="connsiteX4" fmla="*/ 513471 w 1616538"/>
                  <a:gd name="connsiteY4" fmla="*/ 4319 h 1592136"/>
                  <a:gd name="connsiteX5" fmla="*/ 665871 w 1616538"/>
                  <a:gd name="connsiteY5" fmla="*/ 50991 h 1592136"/>
                  <a:gd name="connsiteX6" fmla="*/ 1573603 w 1616538"/>
                  <a:gd name="connsiteY6" fmla="*/ 1024446 h 1592136"/>
                  <a:gd name="connsiteX7" fmla="*/ 1609798 w 1616538"/>
                  <a:gd name="connsiteY7" fmla="*/ 1180656 h 1592136"/>
                  <a:gd name="connsiteX8" fmla="*/ 1492641 w 1616538"/>
                  <a:gd name="connsiteY8" fmla="*/ 1289241 h 1592136"/>
                  <a:gd name="connsiteX9" fmla="*/ 196288 w 1616538"/>
                  <a:gd name="connsiteY9" fmla="*/ 1588326 h 1592136"/>
                  <a:gd name="connsiteX10" fmla="*/ 195336 w 1616538"/>
                  <a:gd name="connsiteY10" fmla="*/ 1585469 h 1592136"/>
                  <a:gd name="connsiteX11" fmla="*/ 196288 w 1616538"/>
                  <a:gd name="connsiteY11" fmla="*/ 1588326 h 1592136"/>
                  <a:gd name="connsiteX12" fmla="*/ 159141 w 1616538"/>
                  <a:gd name="connsiteY12" fmla="*/ 1592136 h 1592136"/>
                  <a:gd name="connsiteX13" fmla="*/ 549666 w 1616538"/>
                  <a:gd name="connsiteY13" fmla="*/ 5271 h 1592136"/>
                  <a:gd name="connsiteX14" fmla="*/ 514423 w 1616538"/>
                  <a:gd name="connsiteY14" fmla="*/ 9081 h 1592136"/>
                  <a:gd name="connsiteX15" fmla="*/ 401076 w 1616538"/>
                  <a:gd name="connsiteY15" fmla="*/ 114809 h 1592136"/>
                  <a:gd name="connsiteX16" fmla="*/ 12456 w 1616538"/>
                  <a:gd name="connsiteY16" fmla="*/ 1387349 h 1592136"/>
                  <a:gd name="connsiteX17" fmla="*/ 46746 w 1616538"/>
                  <a:gd name="connsiteY17" fmla="*/ 1537844 h 1592136"/>
                  <a:gd name="connsiteX18" fmla="*/ 194383 w 1616538"/>
                  <a:gd name="connsiteY18" fmla="*/ 1582611 h 1592136"/>
                  <a:gd name="connsiteX19" fmla="*/ 1490736 w 1616538"/>
                  <a:gd name="connsiteY19" fmla="*/ 1283526 h 1592136"/>
                  <a:gd name="connsiteX20" fmla="*/ 1604083 w 1616538"/>
                  <a:gd name="connsiteY20" fmla="*/ 1177799 h 1592136"/>
                  <a:gd name="connsiteX21" fmla="*/ 1569793 w 1616538"/>
                  <a:gd name="connsiteY21" fmla="*/ 1027304 h 1592136"/>
                  <a:gd name="connsiteX22" fmla="*/ 662061 w 1616538"/>
                  <a:gd name="connsiteY22" fmla="*/ 54801 h 1592136"/>
                  <a:gd name="connsiteX23" fmla="*/ 549666 w 1616538"/>
                  <a:gd name="connsiteY23" fmla="*/ 5271 h 159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6538" h="1592136">
                    <a:moveTo>
                      <a:pt x="159141" y="1592136"/>
                    </a:moveTo>
                    <a:cubicBezTo>
                      <a:pt x="115326" y="1592136"/>
                      <a:pt x="73416" y="1574039"/>
                      <a:pt x="42936" y="1541654"/>
                    </a:cubicBezTo>
                    <a:cubicBezTo>
                      <a:pt x="3883" y="1499744"/>
                      <a:pt x="-9452" y="1441641"/>
                      <a:pt x="6741" y="1385444"/>
                    </a:cubicBezTo>
                    <a:lnTo>
                      <a:pt x="396313" y="112904"/>
                    </a:lnTo>
                    <a:cubicBezTo>
                      <a:pt x="413458" y="57659"/>
                      <a:pt x="457273" y="16701"/>
                      <a:pt x="513471" y="4319"/>
                    </a:cubicBezTo>
                    <a:cubicBezTo>
                      <a:pt x="569668" y="-9016"/>
                      <a:pt x="626818" y="9081"/>
                      <a:pt x="665871" y="50991"/>
                    </a:cubicBezTo>
                    <a:lnTo>
                      <a:pt x="1573603" y="1024446"/>
                    </a:lnTo>
                    <a:cubicBezTo>
                      <a:pt x="1612656" y="1066356"/>
                      <a:pt x="1625991" y="1124459"/>
                      <a:pt x="1609798" y="1180656"/>
                    </a:cubicBezTo>
                    <a:cubicBezTo>
                      <a:pt x="1592653" y="1235901"/>
                      <a:pt x="1548838" y="1276859"/>
                      <a:pt x="1492641" y="1289241"/>
                    </a:cubicBezTo>
                    <a:lnTo>
                      <a:pt x="196288" y="1588326"/>
                    </a:lnTo>
                    <a:lnTo>
                      <a:pt x="195336" y="1585469"/>
                    </a:lnTo>
                    <a:lnTo>
                      <a:pt x="196288" y="1588326"/>
                    </a:lnTo>
                    <a:cubicBezTo>
                      <a:pt x="183905" y="1591184"/>
                      <a:pt x="171523" y="1592136"/>
                      <a:pt x="159141" y="1592136"/>
                    </a:cubicBezTo>
                    <a:close/>
                    <a:moveTo>
                      <a:pt x="549666" y="5271"/>
                    </a:moveTo>
                    <a:cubicBezTo>
                      <a:pt x="538236" y="5271"/>
                      <a:pt x="525853" y="6224"/>
                      <a:pt x="514423" y="9081"/>
                    </a:cubicBezTo>
                    <a:cubicBezTo>
                      <a:pt x="460131" y="21464"/>
                      <a:pt x="418221" y="60516"/>
                      <a:pt x="401076" y="114809"/>
                    </a:cubicBezTo>
                    <a:lnTo>
                      <a:pt x="12456" y="1387349"/>
                    </a:lnTo>
                    <a:cubicBezTo>
                      <a:pt x="-3737" y="1440689"/>
                      <a:pt x="8646" y="1496886"/>
                      <a:pt x="46746" y="1537844"/>
                    </a:cubicBezTo>
                    <a:cubicBezTo>
                      <a:pt x="84846" y="1578801"/>
                      <a:pt x="140091" y="1595946"/>
                      <a:pt x="194383" y="1582611"/>
                    </a:cubicBezTo>
                    <a:lnTo>
                      <a:pt x="1490736" y="1283526"/>
                    </a:lnTo>
                    <a:cubicBezTo>
                      <a:pt x="1545028" y="1271144"/>
                      <a:pt x="1586938" y="1232091"/>
                      <a:pt x="1604083" y="1177799"/>
                    </a:cubicBezTo>
                    <a:cubicBezTo>
                      <a:pt x="1620276" y="1124459"/>
                      <a:pt x="1606941" y="1068261"/>
                      <a:pt x="1569793" y="1027304"/>
                    </a:cubicBezTo>
                    <a:lnTo>
                      <a:pt x="662061" y="54801"/>
                    </a:lnTo>
                    <a:cubicBezTo>
                      <a:pt x="632533" y="22416"/>
                      <a:pt x="592528" y="5271"/>
                      <a:pt x="549666" y="5271"/>
                    </a:cubicBezTo>
                    <a:close/>
                  </a:path>
                </a:pathLst>
              </a:custGeom>
              <a:grpFill/>
              <a:ln w="9525" cap="flat">
                <a:noFill/>
                <a:prstDash val="solid"/>
                <a:miter/>
              </a:ln>
            </p:spPr>
            <p:txBody>
              <a:bodyPr rtlCol="0" anchor="ctr"/>
              <a:lstStyle/>
              <a:p>
                <a:endParaRPr lang="en-US" sz="1730"/>
              </a:p>
            </p:txBody>
          </p:sp>
          <p:sp>
            <p:nvSpPr>
              <p:cNvPr id="65" name="Freeform: Shape 64">
                <a:extLst>
                  <a:ext uri="{FF2B5EF4-FFF2-40B4-BE49-F238E27FC236}">
                    <a16:creationId xmlns:a16="http://schemas.microsoft.com/office/drawing/2014/main" id="{DB035EF0-F3DA-4581-9198-447F52894F88}"/>
                  </a:ext>
                </a:extLst>
              </p:cNvPr>
              <p:cNvSpPr/>
              <p:nvPr/>
            </p:nvSpPr>
            <p:spPr>
              <a:xfrm>
                <a:off x="5531644" y="2497017"/>
                <a:ext cx="1643695" cy="1534597"/>
              </a:xfrm>
              <a:custGeom>
                <a:avLst/>
                <a:gdLst>
                  <a:gd name="connsiteX0" fmla="*/ 1483835 w 1643695"/>
                  <a:gd name="connsiteY0" fmla="*/ 1534598 h 1534597"/>
                  <a:gd name="connsiteX1" fmla="*/ 1466690 w 1643695"/>
                  <a:gd name="connsiteY1" fmla="*/ 1533645 h 1534597"/>
                  <a:gd name="connsiteX2" fmla="*/ 143668 w 1643695"/>
                  <a:gd name="connsiteY2" fmla="*/ 1395532 h 1534597"/>
                  <a:gd name="connsiteX3" fmla="*/ 14128 w 1643695"/>
                  <a:gd name="connsiteY3" fmla="*/ 1301235 h 1534597"/>
                  <a:gd name="connsiteX4" fmla="*/ 31273 w 1643695"/>
                  <a:gd name="connsiteY4" fmla="*/ 1142167 h 1534597"/>
                  <a:gd name="connsiteX5" fmla="*/ 813275 w 1643695"/>
                  <a:gd name="connsiteY5" fmla="*/ 65842 h 1534597"/>
                  <a:gd name="connsiteX6" fmla="*/ 959008 w 1643695"/>
                  <a:gd name="connsiteY6" fmla="*/ 1072 h 1534597"/>
                  <a:gd name="connsiteX7" fmla="*/ 1088548 w 1643695"/>
                  <a:gd name="connsiteY7" fmla="*/ 95370 h 1534597"/>
                  <a:gd name="connsiteX8" fmla="*/ 1629568 w 1643695"/>
                  <a:gd name="connsiteY8" fmla="*/ 1310760 h 1534597"/>
                  <a:gd name="connsiteX9" fmla="*/ 1612423 w 1643695"/>
                  <a:gd name="connsiteY9" fmla="*/ 1469827 h 1534597"/>
                  <a:gd name="connsiteX10" fmla="*/ 1483835 w 1643695"/>
                  <a:gd name="connsiteY10" fmla="*/ 1534598 h 1534597"/>
                  <a:gd name="connsiteX11" fmla="*/ 940910 w 1643695"/>
                  <a:gd name="connsiteY11" fmla="*/ 5835 h 1534597"/>
                  <a:gd name="connsiteX12" fmla="*/ 816133 w 1643695"/>
                  <a:gd name="connsiteY12" fmla="*/ 69652 h 1534597"/>
                  <a:gd name="connsiteX13" fmla="*/ 34130 w 1643695"/>
                  <a:gd name="connsiteY13" fmla="*/ 1145977 h 1534597"/>
                  <a:gd name="connsiteX14" fmla="*/ 17938 w 1643695"/>
                  <a:gd name="connsiteY14" fmla="*/ 1299330 h 1534597"/>
                  <a:gd name="connsiteX15" fmla="*/ 142715 w 1643695"/>
                  <a:gd name="connsiteY15" fmla="*/ 1389817 h 1534597"/>
                  <a:gd name="connsiteX16" fmla="*/ 1465738 w 1643695"/>
                  <a:gd name="connsiteY16" fmla="*/ 1528882 h 1534597"/>
                  <a:gd name="connsiteX17" fmla="*/ 1606708 w 1643695"/>
                  <a:gd name="connsiteY17" fmla="*/ 1466017 h 1534597"/>
                  <a:gd name="connsiteX18" fmla="*/ 1622900 w 1643695"/>
                  <a:gd name="connsiteY18" fmla="*/ 1312665 h 1534597"/>
                  <a:gd name="connsiteX19" fmla="*/ 1082833 w 1643695"/>
                  <a:gd name="connsiteY19" fmla="*/ 97275 h 1534597"/>
                  <a:gd name="connsiteX20" fmla="*/ 958055 w 1643695"/>
                  <a:gd name="connsiteY20" fmla="*/ 6787 h 1534597"/>
                  <a:gd name="connsiteX21" fmla="*/ 940910 w 1643695"/>
                  <a:gd name="connsiteY21" fmla="*/ 5835 h 153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3695" h="1534597">
                    <a:moveTo>
                      <a:pt x="1483835" y="1534598"/>
                    </a:moveTo>
                    <a:cubicBezTo>
                      <a:pt x="1478120" y="1534598"/>
                      <a:pt x="1472405" y="1534598"/>
                      <a:pt x="1466690" y="1533645"/>
                    </a:cubicBezTo>
                    <a:lnTo>
                      <a:pt x="143668" y="1395532"/>
                    </a:lnTo>
                    <a:cubicBezTo>
                      <a:pt x="86518" y="1389817"/>
                      <a:pt x="37940" y="1354575"/>
                      <a:pt x="14128" y="1301235"/>
                    </a:cubicBezTo>
                    <a:cubicBezTo>
                      <a:pt x="-9685" y="1248848"/>
                      <a:pt x="-3017" y="1188840"/>
                      <a:pt x="31273" y="1142167"/>
                    </a:cubicBezTo>
                    <a:lnTo>
                      <a:pt x="813275" y="65842"/>
                    </a:lnTo>
                    <a:cubicBezTo>
                      <a:pt x="847565" y="19170"/>
                      <a:pt x="901858" y="-5595"/>
                      <a:pt x="959008" y="1072"/>
                    </a:cubicBezTo>
                    <a:cubicBezTo>
                      <a:pt x="1016158" y="6787"/>
                      <a:pt x="1064735" y="42030"/>
                      <a:pt x="1088548" y="95370"/>
                    </a:cubicBezTo>
                    <a:lnTo>
                      <a:pt x="1629568" y="1310760"/>
                    </a:lnTo>
                    <a:cubicBezTo>
                      <a:pt x="1653380" y="1363148"/>
                      <a:pt x="1646713" y="1423155"/>
                      <a:pt x="1612423" y="1469827"/>
                    </a:cubicBezTo>
                    <a:cubicBezTo>
                      <a:pt x="1581943" y="1510785"/>
                      <a:pt x="1534318" y="1534598"/>
                      <a:pt x="1483835" y="1534598"/>
                    </a:cubicBezTo>
                    <a:close/>
                    <a:moveTo>
                      <a:pt x="940910" y="5835"/>
                    </a:moveTo>
                    <a:cubicBezTo>
                      <a:pt x="891380" y="5835"/>
                      <a:pt x="845660" y="28695"/>
                      <a:pt x="816133" y="69652"/>
                    </a:cubicBezTo>
                    <a:lnTo>
                      <a:pt x="34130" y="1145977"/>
                    </a:lnTo>
                    <a:cubicBezTo>
                      <a:pt x="1745" y="1190745"/>
                      <a:pt x="-4922" y="1248848"/>
                      <a:pt x="17938" y="1299330"/>
                    </a:cubicBezTo>
                    <a:cubicBezTo>
                      <a:pt x="40798" y="1350765"/>
                      <a:pt x="87470" y="1384102"/>
                      <a:pt x="142715" y="1389817"/>
                    </a:cubicBezTo>
                    <a:lnTo>
                      <a:pt x="1465738" y="1528882"/>
                    </a:lnTo>
                    <a:cubicBezTo>
                      <a:pt x="1520983" y="1534598"/>
                      <a:pt x="1574323" y="1510785"/>
                      <a:pt x="1606708" y="1466017"/>
                    </a:cubicBezTo>
                    <a:cubicBezTo>
                      <a:pt x="1639093" y="1421250"/>
                      <a:pt x="1645760" y="1363148"/>
                      <a:pt x="1622900" y="1312665"/>
                    </a:cubicBezTo>
                    <a:lnTo>
                      <a:pt x="1082833" y="97275"/>
                    </a:lnTo>
                    <a:cubicBezTo>
                      <a:pt x="1059973" y="45840"/>
                      <a:pt x="1013300" y="12502"/>
                      <a:pt x="958055" y="6787"/>
                    </a:cubicBezTo>
                    <a:cubicBezTo>
                      <a:pt x="952340" y="5835"/>
                      <a:pt x="946625" y="5835"/>
                      <a:pt x="940910" y="5835"/>
                    </a:cubicBezTo>
                    <a:close/>
                  </a:path>
                </a:pathLst>
              </a:custGeom>
              <a:grpFill/>
              <a:ln w="9525" cap="flat">
                <a:noFill/>
                <a:prstDash val="solid"/>
                <a:miter/>
              </a:ln>
            </p:spPr>
            <p:txBody>
              <a:bodyPr rtlCol="0" anchor="ctr"/>
              <a:lstStyle/>
              <a:p>
                <a:endParaRPr lang="en-US" sz="1730"/>
              </a:p>
            </p:txBody>
          </p:sp>
          <p:sp>
            <p:nvSpPr>
              <p:cNvPr id="66" name="Freeform: Shape 65">
                <a:extLst>
                  <a:ext uri="{FF2B5EF4-FFF2-40B4-BE49-F238E27FC236}">
                    <a16:creationId xmlns:a16="http://schemas.microsoft.com/office/drawing/2014/main" id="{41AE2AF0-7DD9-443B-8718-D31F62D3CF64}"/>
                  </a:ext>
                </a:extLst>
              </p:cNvPr>
              <p:cNvSpPr/>
              <p:nvPr/>
            </p:nvSpPr>
            <p:spPr>
              <a:xfrm>
                <a:off x="5484232" y="2627034"/>
                <a:ext cx="1525159" cy="1644610"/>
              </a:xfrm>
              <a:custGeom>
                <a:avLst/>
                <a:gdLst>
                  <a:gd name="connsiteX0" fmla="*/ 1365512 w 1525159"/>
                  <a:gd name="connsiteY0" fmla="*/ 1644610 h 1644610"/>
                  <a:gd name="connsiteX1" fmla="*/ 1297885 w 1525159"/>
                  <a:gd name="connsiteY1" fmla="*/ 1629370 h 1644610"/>
                  <a:gd name="connsiteX2" fmla="*/ 92020 w 1525159"/>
                  <a:gd name="connsiteY2" fmla="*/ 1067395 h 1644610"/>
                  <a:gd name="connsiteX3" fmla="*/ 580 w 1525159"/>
                  <a:gd name="connsiteY3" fmla="*/ 936903 h 1644610"/>
                  <a:gd name="connsiteX4" fmla="*/ 68207 w 1525159"/>
                  <a:gd name="connsiteY4" fmla="*/ 792123 h 1644610"/>
                  <a:gd name="connsiteX5" fmla="*/ 1157867 w 1525159"/>
                  <a:gd name="connsiteY5" fmla="*/ 29170 h 1644610"/>
                  <a:gd name="connsiteX6" fmla="*/ 1316935 w 1525159"/>
                  <a:gd name="connsiteY6" fmla="*/ 14883 h 1644610"/>
                  <a:gd name="connsiteX7" fmla="*/ 1408375 w 1525159"/>
                  <a:gd name="connsiteY7" fmla="*/ 145375 h 1644610"/>
                  <a:gd name="connsiteX8" fmla="*/ 1524580 w 1525159"/>
                  <a:gd name="connsiteY8" fmla="*/ 1470303 h 1644610"/>
                  <a:gd name="connsiteX9" fmla="*/ 1456952 w 1525159"/>
                  <a:gd name="connsiteY9" fmla="*/ 1615083 h 1644610"/>
                  <a:gd name="connsiteX10" fmla="*/ 1365512 w 1525159"/>
                  <a:gd name="connsiteY10" fmla="*/ 1644610 h 1644610"/>
                  <a:gd name="connsiteX11" fmla="*/ 1249307 w 1525159"/>
                  <a:gd name="connsiteY11" fmla="*/ 4405 h 1644610"/>
                  <a:gd name="connsiteX12" fmla="*/ 1160725 w 1525159"/>
                  <a:gd name="connsiteY12" fmla="*/ 32980 h 1644610"/>
                  <a:gd name="connsiteX13" fmla="*/ 71065 w 1525159"/>
                  <a:gd name="connsiteY13" fmla="*/ 795933 h 1644610"/>
                  <a:gd name="connsiteX14" fmla="*/ 6295 w 1525159"/>
                  <a:gd name="connsiteY14" fmla="*/ 935950 h 1644610"/>
                  <a:gd name="connsiteX15" fmla="*/ 94877 w 1525159"/>
                  <a:gd name="connsiteY15" fmla="*/ 1062633 h 1644610"/>
                  <a:gd name="connsiteX16" fmla="*/ 1300742 w 1525159"/>
                  <a:gd name="connsiteY16" fmla="*/ 1624608 h 1644610"/>
                  <a:gd name="connsiteX17" fmla="*/ 1454095 w 1525159"/>
                  <a:gd name="connsiteY17" fmla="*/ 1611273 h 1644610"/>
                  <a:gd name="connsiteX18" fmla="*/ 1518865 w 1525159"/>
                  <a:gd name="connsiteY18" fmla="*/ 1471255 h 1644610"/>
                  <a:gd name="connsiteX19" fmla="*/ 1403612 w 1525159"/>
                  <a:gd name="connsiteY19" fmla="*/ 145375 h 1644610"/>
                  <a:gd name="connsiteX20" fmla="*/ 1315030 w 1525159"/>
                  <a:gd name="connsiteY20" fmla="*/ 18693 h 1644610"/>
                  <a:gd name="connsiteX21" fmla="*/ 1249307 w 1525159"/>
                  <a:gd name="connsiteY21" fmla="*/ 4405 h 16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5159" h="1644610">
                    <a:moveTo>
                      <a:pt x="1365512" y="1644610"/>
                    </a:moveTo>
                    <a:cubicBezTo>
                      <a:pt x="1342652" y="1644610"/>
                      <a:pt x="1319792" y="1639848"/>
                      <a:pt x="1297885" y="1629370"/>
                    </a:cubicBezTo>
                    <a:lnTo>
                      <a:pt x="92020" y="1067395"/>
                    </a:lnTo>
                    <a:cubicBezTo>
                      <a:pt x="39632" y="1042630"/>
                      <a:pt x="5342" y="994053"/>
                      <a:pt x="580" y="936903"/>
                    </a:cubicBezTo>
                    <a:cubicBezTo>
                      <a:pt x="-4183" y="879753"/>
                      <a:pt x="20582" y="825460"/>
                      <a:pt x="68207" y="792123"/>
                    </a:cubicBezTo>
                    <a:lnTo>
                      <a:pt x="1157867" y="29170"/>
                    </a:lnTo>
                    <a:cubicBezTo>
                      <a:pt x="1205492" y="-4167"/>
                      <a:pt x="1264547" y="-8930"/>
                      <a:pt x="1316935" y="14883"/>
                    </a:cubicBezTo>
                    <a:cubicBezTo>
                      <a:pt x="1369322" y="39648"/>
                      <a:pt x="1403612" y="88225"/>
                      <a:pt x="1408375" y="145375"/>
                    </a:cubicBezTo>
                    <a:lnTo>
                      <a:pt x="1524580" y="1470303"/>
                    </a:lnTo>
                    <a:cubicBezTo>
                      <a:pt x="1529342" y="1527453"/>
                      <a:pt x="1504577" y="1581745"/>
                      <a:pt x="1456952" y="1615083"/>
                    </a:cubicBezTo>
                    <a:cubicBezTo>
                      <a:pt x="1429330" y="1634133"/>
                      <a:pt x="1397897" y="1644610"/>
                      <a:pt x="1365512" y="1644610"/>
                    </a:cubicBezTo>
                    <a:close/>
                    <a:moveTo>
                      <a:pt x="1249307" y="4405"/>
                    </a:moveTo>
                    <a:cubicBezTo>
                      <a:pt x="1218827" y="4405"/>
                      <a:pt x="1187395" y="13930"/>
                      <a:pt x="1160725" y="32980"/>
                    </a:cubicBezTo>
                    <a:lnTo>
                      <a:pt x="71065" y="795933"/>
                    </a:lnTo>
                    <a:cubicBezTo>
                      <a:pt x="25345" y="828318"/>
                      <a:pt x="580" y="880705"/>
                      <a:pt x="6295" y="935950"/>
                    </a:cubicBezTo>
                    <a:cubicBezTo>
                      <a:pt x="12010" y="991195"/>
                      <a:pt x="44395" y="1038820"/>
                      <a:pt x="94877" y="1062633"/>
                    </a:cubicBezTo>
                    <a:lnTo>
                      <a:pt x="1300742" y="1624608"/>
                    </a:lnTo>
                    <a:cubicBezTo>
                      <a:pt x="1351225" y="1648420"/>
                      <a:pt x="1408375" y="1642705"/>
                      <a:pt x="1454095" y="1611273"/>
                    </a:cubicBezTo>
                    <a:cubicBezTo>
                      <a:pt x="1499815" y="1578888"/>
                      <a:pt x="1524580" y="1527453"/>
                      <a:pt x="1518865" y="1471255"/>
                    </a:cubicBezTo>
                    <a:lnTo>
                      <a:pt x="1403612" y="145375"/>
                    </a:lnTo>
                    <a:cubicBezTo>
                      <a:pt x="1398850" y="90130"/>
                      <a:pt x="1365512" y="42505"/>
                      <a:pt x="1315030" y="18693"/>
                    </a:cubicBezTo>
                    <a:cubicBezTo>
                      <a:pt x="1294075" y="9168"/>
                      <a:pt x="1271215" y="4405"/>
                      <a:pt x="1249307" y="4405"/>
                    </a:cubicBezTo>
                    <a:close/>
                  </a:path>
                </a:pathLst>
              </a:custGeom>
              <a:grpFill/>
              <a:ln w="9525" cap="flat">
                <a:noFill/>
                <a:prstDash val="solid"/>
                <a:miter/>
              </a:ln>
            </p:spPr>
            <p:txBody>
              <a:bodyPr rtlCol="0" anchor="ctr"/>
              <a:lstStyle/>
              <a:p>
                <a:endParaRPr lang="en-US" sz="1730"/>
              </a:p>
            </p:txBody>
          </p:sp>
          <p:sp>
            <p:nvSpPr>
              <p:cNvPr id="67" name="Freeform: Shape 66">
                <a:extLst>
                  <a:ext uri="{FF2B5EF4-FFF2-40B4-BE49-F238E27FC236}">
                    <a16:creationId xmlns:a16="http://schemas.microsoft.com/office/drawing/2014/main" id="{1CB79995-5784-46B8-8607-92B5827FD726}"/>
                  </a:ext>
                </a:extLst>
              </p:cNvPr>
              <p:cNvSpPr/>
              <p:nvPr/>
            </p:nvSpPr>
            <p:spPr>
              <a:xfrm>
                <a:off x="5498775" y="2833512"/>
                <a:ext cx="1599894" cy="1610534"/>
              </a:xfrm>
              <a:custGeom>
                <a:avLst/>
                <a:gdLst>
                  <a:gd name="connsiteX0" fmla="*/ 1116654 w 1599894"/>
                  <a:gd name="connsiteY0" fmla="*/ 1610535 h 1610534"/>
                  <a:gd name="connsiteX1" fmla="*/ 1006164 w 1599894"/>
                  <a:gd name="connsiteY1" fmla="*/ 1565767 h 1610534"/>
                  <a:gd name="connsiteX2" fmla="*/ 48901 w 1599894"/>
                  <a:gd name="connsiteY2" fmla="*/ 641842 h 1610534"/>
                  <a:gd name="connsiteX3" fmla="*/ 5086 w 1599894"/>
                  <a:gd name="connsiteY3" fmla="*/ 488490 h 1610534"/>
                  <a:gd name="connsiteX4" fmla="*/ 116529 w 1599894"/>
                  <a:gd name="connsiteY4" fmla="*/ 373237 h 1610534"/>
                  <a:gd name="connsiteX5" fmla="*/ 1395736 w 1599894"/>
                  <a:gd name="connsiteY5" fmla="*/ 6525 h 1610534"/>
                  <a:gd name="connsiteX6" fmla="*/ 1550994 w 1599894"/>
                  <a:gd name="connsiteY6" fmla="*/ 45577 h 1610534"/>
                  <a:gd name="connsiteX7" fmla="*/ 1594809 w 1599894"/>
                  <a:gd name="connsiteY7" fmla="*/ 198930 h 1610534"/>
                  <a:gd name="connsiteX8" fmla="*/ 1271911 w 1599894"/>
                  <a:gd name="connsiteY8" fmla="*/ 1488615 h 1610534"/>
                  <a:gd name="connsiteX9" fmla="*/ 1160469 w 1599894"/>
                  <a:gd name="connsiteY9" fmla="*/ 1603867 h 1610534"/>
                  <a:gd name="connsiteX10" fmla="*/ 1116654 w 1599894"/>
                  <a:gd name="connsiteY10" fmla="*/ 1610535 h 1610534"/>
                  <a:gd name="connsiteX11" fmla="*/ 1439551 w 1599894"/>
                  <a:gd name="connsiteY11" fmla="*/ 4620 h 1610534"/>
                  <a:gd name="connsiteX12" fmla="*/ 1396689 w 1599894"/>
                  <a:gd name="connsiteY12" fmla="*/ 10335 h 1610534"/>
                  <a:gd name="connsiteX13" fmla="*/ 117481 w 1599894"/>
                  <a:gd name="connsiteY13" fmla="*/ 378000 h 1610534"/>
                  <a:gd name="connsiteX14" fmla="*/ 9849 w 1599894"/>
                  <a:gd name="connsiteY14" fmla="*/ 489442 h 1610534"/>
                  <a:gd name="connsiteX15" fmla="*/ 52711 w 1599894"/>
                  <a:gd name="connsiteY15" fmla="*/ 638033 h 1610534"/>
                  <a:gd name="connsiteX16" fmla="*/ 1009974 w 1599894"/>
                  <a:gd name="connsiteY16" fmla="*/ 1561958 h 1610534"/>
                  <a:gd name="connsiteX17" fmla="*/ 1159516 w 1599894"/>
                  <a:gd name="connsiteY17" fmla="*/ 1599105 h 1610534"/>
                  <a:gd name="connsiteX18" fmla="*/ 1267149 w 1599894"/>
                  <a:gd name="connsiteY18" fmla="*/ 1487663 h 1610534"/>
                  <a:gd name="connsiteX19" fmla="*/ 1589094 w 1599894"/>
                  <a:gd name="connsiteY19" fmla="*/ 197025 h 1610534"/>
                  <a:gd name="connsiteX20" fmla="*/ 1546231 w 1599894"/>
                  <a:gd name="connsiteY20" fmla="*/ 48435 h 1610534"/>
                  <a:gd name="connsiteX21" fmla="*/ 1439551 w 1599894"/>
                  <a:gd name="connsiteY21" fmla="*/ 4620 h 16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894" h="1610534">
                    <a:moveTo>
                      <a:pt x="1116654" y="1610535"/>
                    </a:moveTo>
                    <a:cubicBezTo>
                      <a:pt x="1075696" y="1610535"/>
                      <a:pt x="1036644" y="1595295"/>
                      <a:pt x="1006164" y="1565767"/>
                    </a:cubicBezTo>
                    <a:lnTo>
                      <a:pt x="48901" y="641842"/>
                    </a:lnTo>
                    <a:cubicBezTo>
                      <a:pt x="6991" y="601837"/>
                      <a:pt x="-9201" y="544687"/>
                      <a:pt x="5086" y="488490"/>
                    </a:cubicBezTo>
                    <a:cubicBezTo>
                      <a:pt x="19374" y="432292"/>
                      <a:pt x="60331" y="389430"/>
                      <a:pt x="116529" y="373237"/>
                    </a:cubicBezTo>
                    <a:lnTo>
                      <a:pt x="1395736" y="6525"/>
                    </a:lnTo>
                    <a:cubicBezTo>
                      <a:pt x="1450981" y="-9668"/>
                      <a:pt x="1509084" y="4620"/>
                      <a:pt x="1550994" y="45577"/>
                    </a:cubicBezTo>
                    <a:cubicBezTo>
                      <a:pt x="1592904" y="85582"/>
                      <a:pt x="1609096" y="142732"/>
                      <a:pt x="1594809" y="198930"/>
                    </a:cubicBezTo>
                    <a:lnTo>
                      <a:pt x="1271911" y="1488615"/>
                    </a:lnTo>
                    <a:cubicBezTo>
                      <a:pt x="1257624" y="1544813"/>
                      <a:pt x="1216666" y="1587675"/>
                      <a:pt x="1160469" y="1603867"/>
                    </a:cubicBezTo>
                    <a:cubicBezTo>
                      <a:pt x="1146181" y="1607678"/>
                      <a:pt x="1130941" y="1610535"/>
                      <a:pt x="1116654" y="1610535"/>
                    </a:cubicBezTo>
                    <a:close/>
                    <a:moveTo>
                      <a:pt x="1439551" y="4620"/>
                    </a:moveTo>
                    <a:cubicBezTo>
                      <a:pt x="1425264" y="4620"/>
                      <a:pt x="1410976" y="6525"/>
                      <a:pt x="1396689" y="10335"/>
                    </a:cubicBezTo>
                    <a:lnTo>
                      <a:pt x="117481" y="378000"/>
                    </a:lnTo>
                    <a:cubicBezTo>
                      <a:pt x="64141" y="393240"/>
                      <a:pt x="24136" y="435150"/>
                      <a:pt x="9849" y="489442"/>
                    </a:cubicBezTo>
                    <a:cubicBezTo>
                      <a:pt x="-3487" y="543735"/>
                      <a:pt x="12706" y="598980"/>
                      <a:pt x="52711" y="638033"/>
                    </a:cubicBezTo>
                    <a:lnTo>
                      <a:pt x="1009974" y="1561958"/>
                    </a:lnTo>
                    <a:cubicBezTo>
                      <a:pt x="1049979" y="1601010"/>
                      <a:pt x="1106176" y="1614345"/>
                      <a:pt x="1159516" y="1599105"/>
                    </a:cubicBezTo>
                    <a:cubicBezTo>
                      <a:pt x="1212856" y="1583865"/>
                      <a:pt x="1252861" y="1541955"/>
                      <a:pt x="1267149" y="1487663"/>
                    </a:cubicBezTo>
                    <a:lnTo>
                      <a:pt x="1589094" y="197025"/>
                    </a:lnTo>
                    <a:cubicBezTo>
                      <a:pt x="1602429" y="142732"/>
                      <a:pt x="1586236" y="87487"/>
                      <a:pt x="1546231" y="48435"/>
                    </a:cubicBezTo>
                    <a:cubicBezTo>
                      <a:pt x="1516704" y="19860"/>
                      <a:pt x="1478604" y="4620"/>
                      <a:pt x="1439551" y="4620"/>
                    </a:cubicBezTo>
                    <a:close/>
                  </a:path>
                </a:pathLst>
              </a:custGeom>
              <a:grpFill/>
              <a:ln w="9525" cap="flat">
                <a:noFill/>
                <a:prstDash val="solid"/>
                <a:miter/>
              </a:ln>
            </p:spPr>
            <p:txBody>
              <a:bodyPr rtlCol="0" anchor="ctr"/>
              <a:lstStyle/>
              <a:p>
                <a:endParaRPr lang="en-US" sz="1730"/>
              </a:p>
            </p:txBody>
          </p:sp>
          <p:sp>
            <p:nvSpPr>
              <p:cNvPr id="68" name="Freeform: Shape 67">
                <a:extLst>
                  <a:ext uri="{FF2B5EF4-FFF2-40B4-BE49-F238E27FC236}">
                    <a16:creationId xmlns:a16="http://schemas.microsoft.com/office/drawing/2014/main" id="{C2CD6B3F-A5CA-4C9E-A462-6CF2EE2A5719}"/>
                  </a:ext>
                </a:extLst>
              </p:cNvPr>
              <p:cNvSpPr/>
              <p:nvPr/>
            </p:nvSpPr>
            <p:spPr>
              <a:xfrm>
                <a:off x="5574695" y="3024613"/>
                <a:ext cx="1649985" cy="1506110"/>
              </a:xfrm>
              <a:custGeom>
                <a:avLst/>
                <a:gdLst>
                  <a:gd name="connsiteX0" fmla="*/ 764509 w 1649985"/>
                  <a:gd name="connsiteY0" fmla="*/ 1506111 h 1506110"/>
                  <a:gd name="connsiteX1" fmla="*/ 755937 w 1649985"/>
                  <a:gd name="connsiteY1" fmla="*/ 1506111 h 1506110"/>
                  <a:gd name="connsiteX2" fmla="*/ 621634 w 1649985"/>
                  <a:gd name="connsiteY2" fmla="*/ 1419433 h 1506110"/>
                  <a:gd name="connsiteX3" fmla="*/ 17749 w 1649985"/>
                  <a:gd name="connsiteY3" fmla="*/ 232618 h 1506110"/>
                  <a:gd name="connsiteX4" fmla="*/ 26322 w 1649985"/>
                  <a:gd name="connsiteY4" fmla="*/ 72598 h 1506110"/>
                  <a:gd name="connsiteX5" fmla="*/ 169197 w 1649985"/>
                  <a:gd name="connsiteY5" fmla="*/ 208 h 1506110"/>
                  <a:gd name="connsiteX6" fmla="*/ 1497934 w 1649985"/>
                  <a:gd name="connsiteY6" fmla="*/ 69741 h 1506110"/>
                  <a:gd name="connsiteX7" fmla="*/ 1632237 w 1649985"/>
                  <a:gd name="connsiteY7" fmla="*/ 156418 h 1506110"/>
                  <a:gd name="connsiteX8" fmla="*/ 1623664 w 1649985"/>
                  <a:gd name="connsiteY8" fmla="*/ 316438 h 1506110"/>
                  <a:gd name="connsiteX9" fmla="*/ 898812 w 1649985"/>
                  <a:gd name="connsiteY9" fmla="*/ 1431816 h 1506110"/>
                  <a:gd name="connsiteX10" fmla="*/ 764509 w 1649985"/>
                  <a:gd name="connsiteY10" fmla="*/ 1506111 h 1506110"/>
                  <a:gd name="connsiteX11" fmla="*/ 22512 w 1649985"/>
                  <a:gd name="connsiteY11" fmla="*/ 230713 h 1506110"/>
                  <a:gd name="connsiteX12" fmla="*/ 626397 w 1649985"/>
                  <a:gd name="connsiteY12" fmla="*/ 1415623 h 1506110"/>
                  <a:gd name="connsiteX13" fmla="*/ 755937 w 1649985"/>
                  <a:gd name="connsiteY13" fmla="*/ 1499443 h 1506110"/>
                  <a:gd name="connsiteX14" fmla="*/ 893097 w 1649985"/>
                  <a:gd name="connsiteY14" fmla="*/ 1428958 h 1506110"/>
                  <a:gd name="connsiteX15" fmla="*/ 1617949 w 1649985"/>
                  <a:gd name="connsiteY15" fmla="*/ 313581 h 1506110"/>
                  <a:gd name="connsiteX16" fmla="*/ 1625569 w 1649985"/>
                  <a:gd name="connsiteY16" fmla="*/ 159276 h 1506110"/>
                  <a:gd name="connsiteX17" fmla="*/ 1496029 w 1649985"/>
                  <a:gd name="connsiteY17" fmla="*/ 75456 h 1506110"/>
                  <a:gd name="connsiteX18" fmla="*/ 168244 w 1649985"/>
                  <a:gd name="connsiteY18" fmla="*/ 5923 h 1506110"/>
                  <a:gd name="connsiteX19" fmla="*/ 31084 w 1649985"/>
                  <a:gd name="connsiteY19" fmla="*/ 76408 h 1506110"/>
                  <a:gd name="connsiteX20" fmla="*/ 22512 w 1649985"/>
                  <a:gd name="connsiteY20" fmla="*/ 230713 h 15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9985" h="1506110">
                    <a:moveTo>
                      <a:pt x="764509" y="1506111"/>
                    </a:moveTo>
                    <a:cubicBezTo>
                      <a:pt x="761652" y="1506111"/>
                      <a:pt x="758794" y="1506111"/>
                      <a:pt x="755937" y="1506111"/>
                    </a:cubicBezTo>
                    <a:cubicBezTo>
                      <a:pt x="697834" y="1503253"/>
                      <a:pt x="648304" y="1470868"/>
                      <a:pt x="621634" y="1419433"/>
                    </a:cubicBezTo>
                    <a:lnTo>
                      <a:pt x="17749" y="232618"/>
                    </a:lnTo>
                    <a:cubicBezTo>
                      <a:pt x="-8921" y="181183"/>
                      <a:pt x="-5111" y="121176"/>
                      <a:pt x="26322" y="72598"/>
                    </a:cubicBezTo>
                    <a:cubicBezTo>
                      <a:pt x="57754" y="24021"/>
                      <a:pt x="111094" y="-2649"/>
                      <a:pt x="169197" y="208"/>
                    </a:cubicBezTo>
                    <a:lnTo>
                      <a:pt x="1497934" y="69741"/>
                    </a:lnTo>
                    <a:cubicBezTo>
                      <a:pt x="1556037" y="72598"/>
                      <a:pt x="1605567" y="104983"/>
                      <a:pt x="1632237" y="156418"/>
                    </a:cubicBezTo>
                    <a:cubicBezTo>
                      <a:pt x="1658907" y="207853"/>
                      <a:pt x="1655097" y="267861"/>
                      <a:pt x="1623664" y="316438"/>
                    </a:cubicBezTo>
                    <a:lnTo>
                      <a:pt x="898812" y="1431816"/>
                    </a:lnTo>
                    <a:cubicBezTo>
                      <a:pt x="868332" y="1478488"/>
                      <a:pt x="818802" y="1506111"/>
                      <a:pt x="764509" y="1506111"/>
                    </a:cubicBezTo>
                    <a:close/>
                    <a:moveTo>
                      <a:pt x="22512" y="230713"/>
                    </a:moveTo>
                    <a:lnTo>
                      <a:pt x="626397" y="1415623"/>
                    </a:lnTo>
                    <a:cubicBezTo>
                      <a:pt x="652114" y="1465153"/>
                      <a:pt x="699739" y="1496586"/>
                      <a:pt x="755937" y="1499443"/>
                    </a:cubicBezTo>
                    <a:cubicBezTo>
                      <a:pt x="812134" y="1502301"/>
                      <a:pt x="862617" y="1476583"/>
                      <a:pt x="893097" y="1428958"/>
                    </a:cubicBezTo>
                    <a:lnTo>
                      <a:pt x="1617949" y="313581"/>
                    </a:lnTo>
                    <a:cubicBezTo>
                      <a:pt x="1648429" y="266908"/>
                      <a:pt x="1651287" y="208806"/>
                      <a:pt x="1625569" y="159276"/>
                    </a:cubicBezTo>
                    <a:cubicBezTo>
                      <a:pt x="1599852" y="109746"/>
                      <a:pt x="1552227" y="78313"/>
                      <a:pt x="1496029" y="75456"/>
                    </a:cubicBezTo>
                    <a:lnTo>
                      <a:pt x="168244" y="5923"/>
                    </a:lnTo>
                    <a:cubicBezTo>
                      <a:pt x="112999" y="3066"/>
                      <a:pt x="61564" y="28783"/>
                      <a:pt x="31084" y="76408"/>
                    </a:cubicBezTo>
                    <a:cubicBezTo>
                      <a:pt x="604" y="123081"/>
                      <a:pt x="-3206" y="181183"/>
                      <a:pt x="22512" y="230713"/>
                    </a:cubicBezTo>
                    <a:close/>
                  </a:path>
                </a:pathLst>
              </a:custGeom>
              <a:grpFill/>
              <a:ln w="9525" cap="flat">
                <a:noFill/>
                <a:prstDash val="solid"/>
                <a:miter/>
              </a:ln>
            </p:spPr>
            <p:txBody>
              <a:bodyPr rtlCol="0" anchor="ctr"/>
              <a:lstStyle/>
              <a:p>
                <a:endParaRPr lang="en-US" sz="1730"/>
              </a:p>
            </p:txBody>
          </p:sp>
          <p:sp>
            <p:nvSpPr>
              <p:cNvPr id="69" name="Freeform: Shape 68">
                <a:extLst>
                  <a:ext uri="{FF2B5EF4-FFF2-40B4-BE49-F238E27FC236}">
                    <a16:creationId xmlns:a16="http://schemas.microsoft.com/office/drawing/2014/main" id="{078CAE18-6328-4577-A1E2-68D4E723AA5D}"/>
                  </a:ext>
                </a:extLst>
              </p:cNvPr>
              <p:cNvSpPr/>
              <p:nvPr/>
            </p:nvSpPr>
            <p:spPr>
              <a:xfrm>
                <a:off x="5703352" y="2884241"/>
                <a:ext cx="1552692" cy="1637910"/>
              </a:xfrm>
              <a:custGeom>
                <a:avLst/>
                <a:gdLst>
                  <a:gd name="connsiteX0" fmla="*/ 345340 w 1552692"/>
                  <a:gd name="connsiteY0" fmla="*/ 1637910 h 1637910"/>
                  <a:gd name="connsiteX1" fmla="*/ 285332 w 1552692"/>
                  <a:gd name="connsiteY1" fmla="*/ 1626480 h 1637910"/>
                  <a:gd name="connsiteX2" fmla="*/ 187225 w 1552692"/>
                  <a:gd name="connsiteY2" fmla="*/ 1500750 h 1637910"/>
                  <a:gd name="connsiteX3" fmla="*/ 1487 w 1552692"/>
                  <a:gd name="connsiteY3" fmla="*/ 182490 h 1637910"/>
                  <a:gd name="connsiteX4" fmla="*/ 61495 w 1552692"/>
                  <a:gd name="connsiteY4" fmla="*/ 33900 h 1637910"/>
                  <a:gd name="connsiteX5" fmla="*/ 219610 w 1552692"/>
                  <a:gd name="connsiteY5" fmla="*/ 11993 h 1637910"/>
                  <a:gd name="connsiteX6" fmla="*/ 1453097 w 1552692"/>
                  <a:gd name="connsiteY6" fmla="*/ 510150 h 1637910"/>
                  <a:gd name="connsiteX7" fmla="*/ 1551205 w 1552692"/>
                  <a:gd name="connsiteY7" fmla="*/ 635880 h 1637910"/>
                  <a:gd name="connsiteX8" fmla="*/ 1491197 w 1552692"/>
                  <a:gd name="connsiteY8" fmla="*/ 784470 h 1637910"/>
                  <a:gd name="connsiteX9" fmla="*/ 442495 w 1552692"/>
                  <a:gd name="connsiteY9" fmla="*/ 1603620 h 1637910"/>
                  <a:gd name="connsiteX10" fmla="*/ 345340 w 1552692"/>
                  <a:gd name="connsiteY10" fmla="*/ 1637910 h 1637910"/>
                  <a:gd name="connsiteX11" fmla="*/ 7202 w 1552692"/>
                  <a:gd name="connsiteY11" fmla="*/ 182490 h 1637910"/>
                  <a:gd name="connsiteX12" fmla="*/ 191987 w 1552692"/>
                  <a:gd name="connsiteY12" fmla="*/ 1499798 h 1637910"/>
                  <a:gd name="connsiteX13" fmla="*/ 287237 w 1552692"/>
                  <a:gd name="connsiteY13" fmla="*/ 1621718 h 1637910"/>
                  <a:gd name="connsiteX14" fmla="*/ 439637 w 1552692"/>
                  <a:gd name="connsiteY14" fmla="*/ 1599810 h 1637910"/>
                  <a:gd name="connsiteX15" fmla="*/ 1488340 w 1552692"/>
                  <a:gd name="connsiteY15" fmla="*/ 780660 h 1637910"/>
                  <a:gd name="connsiteX16" fmla="*/ 1546442 w 1552692"/>
                  <a:gd name="connsiteY16" fmla="*/ 637785 h 1637910"/>
                  <a:gd name="connsiteX17" fmla="*/ 1451192 w 1552692"/>
                  <a:gd name="connsiteY17" fmla="*/ 515865 h 1637910"/>
                  <a:gd name="connsiteX18" fmla="*/ 217705 w 1552692"/>
                  <a:gd name="connsiteY18" fmla="*/ 17708 h 1637910"/>
                  <a:gd name="connsiteX19" fmla="*/ 65305 w 1552692"/>
                  <a:gd name="connsiteY19" fmla="*/ 39615 h 1637910"/>
                  <a:gd name="connsiteX20" fmla="*/ 7202 w 1552692"/>
                  <a:gd name="connsiteY20" fmla="*/ 182490 h 16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52692" h="1637910">
                    <a:moveTo>
                      <a:pt x="345340" y="1637910"/>
                    </a:moveTo>
                    <a:cubicBezTo>
                      <a:pt x="325337" y="1637910"/>
                      <a:pt x="304382" y="1634100"/>
                      <a:pt x="285332" y="1626480"/>
                    </a:cubicBezTo>
                    <a:cubicBezTo>
                      <a:pt x="231992" y="1604573"/>
                      <a:pt x="194845" y="1557900"/>
                      <a:pt x="187225" y="1500750"/>
                    </a:cubicBezTo>
                    <a:lnTo>
                      <a:pt x="1487" y="182490"/>
                    </a:lnTo>
                    <a:cubicBezTo>
                      <a:pt x="-6133" y="125340"/>
                      <a:pt x="15775" y="70095"/>
                      <a:pt x="61495" y="33900"/>
                    </a:cubicBezTo>
                    <a:cubicBezTo>
                      <a:pt x="107215" y="-1342"/>
                      <a:pt x="166270" y="-9915"/>
                      <a:pt x="219610" y="11993"/>
                    </a:cubicBezTo>
                    <a:lnTo>
                      <a:pt x="1453097" y="510150"/>
                    </a:lnTo>
                    <a:cubicBezTo>
                      <a:pt x="1506437" y="532058"/>
                      <a:pt x="1543585" y="578730"/>
                      <a:pt x="1551205" y="635880"/>
                    </a:cubicBezTo>
                    <a:cubicBezTo>
                      <a:pt x="1558825" y="693030"/>
                      <a:pt x="1536917" y="748275"/>
                      <a:pt x="1491197" y="784470"/>
                    </a:cubicBezTo>
                    <a:lnTo>
                      <a:pt x="442495" y="1603620"/>
                    </a:lnTo>
                    <a:cubicBezTo>
                      <a:pt x="414872" y="1626480"/>
                      <a:pt x="380582" y="1637910"/>
                      <a:pt x="345340" y="1637910"/>
                    </a:cubicBezTo>
                    <a:close/>
                    <a:moveTo>
                      <a:pt x="7202" y="182490"/>
                    </a:moveTo>
                    <a:lnTo>
                      <a:pt x="191987" y="1499798"/>
                    </a:lnTo>
                    <a:cubicBezTo>
                      <a:pt x="199607" y="1555043"/>
                      <a:pt x="234850" y="1600763"/>
                      <a:pt x="287237" y="1621718"/>
                    </a:cubicBezTo>
                    <a:cubicBezTo>
                      <a:pt x="338672" y="1642673"/>
                      <a:pt x="395822" y="1635053"/>
                      <a:pt x="439637" y="1599810"/>
                    </a:cubicBezTo>
                    <a:lnTo>
                      <a:pt x="1488340" y="780660"/>
                    </a:lnTo>
                    <a:cubicBezTo>
                      <a:pt x="1532155" y="746370"/>
                      <a:pt x="1554062" y="693030"/>
                      <a:pt x="1546442" y="637785"/>
                    </a:cubicBezTo>
                    <a:cubicBezTo>
                      <a:pt x="1538822" y="582540"/>
                      <a:pt x="1503580" y="536820"/>
                      <a:pt x="1451192" y="515865"/>
                    </a:cubicBezTo>
                    <a:lnTo>
                      <a:pt x="217705" y="17708"/>
                    </a:lnTo>
                    <a:cubicBezTo>
                      <a:pt x="166270" y="-3247"/>
                      <a:pt x="109120" y="4373"/>
                      <a:pt x="65305" y="39615"/>
                    </a:cubicBezTo>
                    <a:cubicBezTo>
                      <a:pt x="20537" y="72953"/>
                      <a:pt x="-418" y="127245"/>
                      <a:pt x="7202" y="182490"/>
                    </a:cubicBezTo>
                    <a:close/>
                  </a:path>
                </a:pathLst>
              </a:custGeom>
              <a:grpFill/>
              <a:ln w="9525" cap="flat">
                <a:noFill/>
                <a:prstDash val="solid"/>
                <a:miter/>
              </a:ln>
            </p:spPr>
            <p:txBody>
              <a:bodyPr rtlCol="0" anchor="ctr"/>
              <a:lstStyle/>
              <a:p>
                <a:endParaRPr lang="en-US" sz="1730"/>
              </a:p>
            </p:txBody>
          </p:sp>
          <p:sp>
            <p:nvSpPr>
              <p:cNvPr id="70" name="Freeform: Shape 69">
                <a:extLst>
                  <a:ext uri="{FF2B5EF4-FFF2-40B4-BE49-F238E27FC236}">
                    <a16:creationId xmlns:a16="http://schemas.microsoft.com/office/drawing/2014/main" id="{EBA2E409-2F87-44E1-BDE0-C3F0C5F0EE68}"/>
                  </a:ext>
                </a:extLst>
              </p:cNvPr>
              <p:cNvSpPr/>
              <p:nvPr/>
            </p:nvSpPr>
            <p:spPr>
              <a:xfrm>
                <a:off x="5617251" y="2793839"/>
                <a:ext cx="1577256" cy="1626394"/>
              </a:xfrm>
              <a:custGeom>
                <a:avLst/>
                <a:gdLst>
                  <a:gd name="connsiteX0" fmla="*/ 159026 w 1577256"/>
                  <a:gd name="connsiteY0" fmla="*/ 1626395 h 1626394"/>
                  <a:gd name="connsiteX1" fmla="*/ 55203 w 1577256"/>
                  <a:gd name="connsiteY1" fmla="*/ 1587342 h 1626394"/>
                  <a:gd name="connsiteX2" fmla="*/ 2816 w 1577256"/>
                  <a:gd name="connsiteY2" fmla="*/ 1435895 h 1626394"/>
                  <a:gd name="connsiteX3" fmla="*/ 256181 w 1577256"/>
                  <a:gd name="connsiteY3" fmla="*/ 130017 h 1626394"/>
                  <a:gd name="connsiteX4" fmla="*/ 360956 w 1577256"/>
                  <a:gd name="connsiteY4" fmla="*/ 9050 h 1626394"/>
                  <a:gd name="connsiteX5" fmla="*/ 518118 w 1577256"/>
                  <a:gd name="connsiteY5" fmla="*/ 39530 h 1626394"/>
                  <a:gd name="connsiteX6" fmla="*/ 1522053 w 1577256"/>
                  <a:gd name="connsiteY6" fmla="*/ 912019 h 1626394"/>
                  <a:gd name="connsiteX7" fmla="*/ 1574441 w 1577256"/>
                  <a:gd name="connsiteY7" fmla="*/ 1063467 h 1626394"/>
                  <a:gd name="connsiteX8" fmla="*/ 1469666 w 1577256"/>
                  <a:gd name="connsiteY8" fmla="*/ 1184435 h 1626394"/>
                  <a:gd name="connsiteX9" fmla="*/ 211413 w 1577256"/>
                  <a:gd name="connsiteY9" fmla="*/ 1616870 h 1626394"/>
                  <a:gd name="connsiteX10" fmla="*/ 159026 w 1577256"/>
                  <a:gd name="connsiteY10" fmla="*/ 1626395 h 1626394"/>
                  <a:gd name="connsiteX11" fmla="*/ 259038 w 1577256"/>
                  <a:gd name="connsiteY11" fmla="*/ 130017 h 1626394"/>
                  <a:gd name="connsiteX12" fmla="*/ 261896 w 1577256"/>
                  <a:gd name="connsiteY12" fmla="*/ 130970 h 1626394"/>
                  <a:gd name="connsiteX13" fmla="*/ 7578 w 1577256"/>
                  <a:gd name="connsiteY13" fmla="*/ 1436847 h 1626394"/>
                  <a:gd name="connsiteX14" fmla="*/ 58061 w 1577256"/>
                  <a:gd name="connsiteY14" fmla="*/ 1582580 h 1626394"/>
                  <a:gd name="connsiteX15" fmla="*/ 209508 w 1577256"/>
                  <a:gd name="connsiteY15" fmla="*/ 1612107 h 1626394"/>
                  <a:gd name="connsiteX16" fmla="*/ 1467761 w 1577256"/>
                  <a:gd name="connsiteY16" fmla="*/ 1178720 h 1626394"/>
                  <a:gd name="connsiteX17" fmla="*/ 1568726 w 1577256"/>
                  <a:gd name="connsiteY17" fmla="*/ 1062515 h 1626394"/>
                  <a:gd name="connsiteX18" fmla="*/ 1518243 w 1577256"/>
                  <a:gd name="connsiteY18" fmla="*/ 916782 h 1626394"/>
                  <a:gd name="connsiteX19" fmla="*/ 514308 w 1577256"/>
                  <a:gd name="connsiteY19" fmla="*/ 43340 h 1626394"/>
                  <a:gd name="connsiteX20" fmla="*/ 362861 w 1577256"/>
                  <a:gd name="connsiteY20" fmla="*/ 13812 h 1626394"/>
                  <a:gd name="connsiteX21" fmla="*/ 261896 w 1577256"/>
                  <a:gd name="connsiteY21" fmla="*/ 130017 h 1626394"/>
                  <a:gd name="connsiteX22" fmla="*/ 259038 w 1577256"/>
                  <a:gd name="connsiteY22" fmla="*/ 130017 h 162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7256" h="1626394">
                    <a:moveTo>
                      <a:pt x="159026" y="1626395"/>
                    </a:moveTo>
                    <a:cubicBezTo>
                      <a:pt x="120926" y="1626395"/>
                      <a:pt x="84731" y="1613060"/>
                      <a:pt x="55203" y="1587342"/>
                    </a:cubicBezTo>
                    <a:cubicBezTo>
                      <a:pt x="11388" y="1549242"/>
                      <a:pt x="-7662" y="1493045"/>
                      <a:pt x="2816" y="1435895"/>
                    </a:cubicBezTo>
                    <a:lnTo>
                      <a:pt x="256181" y="130017"/>
                    </a:lnTo>
                    <a:cubicBezTo>
                      <a:pt x="267611" y="72867"/>
                      <a:pt x="306663" y="28100"/>
                      <a:pt x="360956" y="9050"/>
                    </a:cubicBezTo>
                    <a:cubicBezTo>
                      <a:pt x="415248" y="-10000"/>
                      <a:pt x="474303" y="1430"/>
                      <a:pt x="518118" y="39530"/>
                    </a:cubicBezTo>
                    <a:lnTo>
                      <a:pt x="1522053" y="912019"/>
                    </a:lnTo>
                    <a:cubicBezTo>
                      <a:pt x="1565868" y="950119"/>
                      <a:pt x="1584918" y="1006317"/>
                      <a:pt x="1574441" y="1063467"/>
                    </a:cubicBezTo>
                    <a:cubicBezTo>
                      <a:pt x="1563011" y="1120617"/>
                      <a:pt x="1523958" y="1165385"/>
                      <a:pt x="1469666" y="1184435"/>
                    </a:cubicBezTo>
                    <a:lnTo>
                      <a:pt x="211413" y="1616870"/>
                    </a:lnTo>
                    <a:cubicBezTo>
                      <a:pt x="194268" y="1623537"/>
                      <a:pt x="176171" y="1626395"/>
                      <a:pt x="159026" y="1626395"/>
                    </a:cubicBezTo>
                    <a:close/>
                    <a:moveTo>
                      <a:pt x="259038" y="130017"/>
                    </a:moveTo>
                    <a:lnTo>
                      <a:pt x="261896" y="130970"/>
                    </a:lnTo>
                    <a:lnTo>
                      <a:pt x="7578" y="1436847"/>
                    </a:lnTo>
                    <a:cubicBezTo>
                      <a:pt x="-2899" y="1492092"/>
                      <a:pt x="16151" y="1546385"/>
                      <a:pt x="58061" y="1582580"/>
                    </a:cubicBezTo>
                    <a:cubicBezTo>
                      <a:pt x="99971" y="1618775"/>
                      <a:pt x="157121" y="1630205"/>
                      <a:pt x="209508" y="1612107"/>
                    </a:cubicBezTo>
                    <a:lnTo>
                      <a:pt x="1467761" y="1178720"/>
                    </a:lnTo>
                    <a:cubicBezTo>
                      <a:pt x="1520148" y="1160622"/>
                      <a:pt x="1558248" y="1116807"/>
                      <a:pt x="1568726" y="1062515"/>
                    </a:cubicBezTo>
                    <a:cubicBezTo>
                      <a:pt x="1579203" y="1007269"/>
                      <a:pt x="1560153" y="952977"/>
                      <a:pt x="1518243" y="916782"/>
                    </a:cubicBezTo>
                    <a:lnTo>
                      <a:pt x="514308" y="43340"/>
                    </a:lnTo>
                    <a:cubicBezTo>
                      <a:pt x="472398" y="7145"/>
                      <a:pt x="415248" y="-4285"/>
                      <a:pt x="362861" y="13812"/>
                    </a:cubicBezTo>
                    <a:cubicBezTo>
                      <a:pt x="310473" y="31910"/>
                      <a:pt x="272373" y="75725"/>
                      <a:pt x="261896" y="130017"/>
                    </a:cubicBezTo>
                    <a:lnTo>
                      <a:pt x="259038" y="130017"/>
                    </a:lnTo>
                    <a:close/>
                  </a:path>
                </a:pathLst>
              </a:custGeom>
              <a:grpFill/>
              <a:ln w="9525" cap="flat">
                <a:noFill/>
                <a:prstDash val="solid"/>
                <a:miter/>
              </a:ln>
            </p:spPr>
            <p:txBody>
              <a:bodyPr rtlCol="0" anchor="ctr"/>
              <a:lstStyle/>
              <a:p>
                <a:endParaRPr lang="en-US" sz="1730"/>
              </a:p>
            </p:txBody>
          </p:sp>
          <p:sp>
            <p:nvSpPr>
              <p:cNvPr id="71" name="Freeform: Shape 70">
                <a:extLst>
                  <a:ext uri="{FF2B5EF4-FFF2-40B4-BE49-F238E27FC236}">
                    <a16:creationId xmlns:a16="http://schemas.microsoft.com/office/drawing/2014/main" id="{4B3569C1-CDDE-4300-A777-F5A88095235D}"/>
                  </a:ext>
                </a:extLst>
              </p:cNvPr>
              <p:cNvSpPr/>
              <p:nvPr/>
            </p:nvSpPr>
            <p:spPr>
              <a:xfrm>
                <a:off x="5392895" y="2761931"/>
                <a:ext cx="1648777" cy="1472564"/>
              </a:xfrm>
              <a:custGeom>
                <a:avLst/>
                <a:gdLst>
                  <a:gd name="connsiteX0" fmla="*/ 1490186 w 1648777"/>
                  <a:gd name="connsiteY0" fmla="*/ 1472565 h 1472564"/>
                  <a:gd name="connsiteX1" fmla="*/ 159544 w 1648777"/>
                  <a:gd name="connsiteY1" fmla="*/ 1472565 h 1472564"/>
                  <a:gd name="connsiteX2" fmla="*/ 21431 w 1648777"/>
                  <a:gd name="connsiteY2" fmla="*/ 1392555 h 1472564"/>
                  <a:gd name="connsiteX3" fmla="*/ 21431 w 1648777"/>
                  <a:gd name="connsiteY3" fmla="*/ 1232535 h 1472564"/>
                  <a:gd name="connsiteX4" fmla="*/ 686276 w 1648777"/>
                  <a:gd name="connsiteY4" fmla="*/ 80010 h 1472564"/>
                  <a:gd name="connsiteX5" fmla="*/ 824389 w 1648777"/>
                  <a:gd name="connsiteY5" fmla="*/ 0 h 1472564"/>
                  <a:gd name="connsiteX6" fmla="*/ 824389 w 1648777"/>
                  <a:gd name="connsiteY6" fmla="*/ 0 h 1472564"/>
                  <a:gd name="connsiteX7" fmla="*/ 962501 w 1648777"/>
                  <a:gd name="connsiteY7" fmla="*/ 80010 h 1472564"/>
                  <a:gd name="connsiteX8" fmla="*/ 1627346 w 1648777"/>
                  <a:gd name="connsiteY8" fmla="*/ 1232535 h 1472564"/>
                  <a:gd name="connsiteX9" fmla="*/ 1627346 w 1648777"/>
                  <a:gd name="connsiteY9" fmla="*/ 1392555 h 1472564"/>
                  <a:gd name="connsiteX10" fmla="*/ 1490186 w 1648777"/>
                  <a:gd name="connsiteY10" fmla="*/ 1472565 h 1472564"/>
                  <a:gd name="connsiteX11" fmla="*/ 691039 w 1648777"/>
                  <a:gd name="connsiteY11" fmla="*/ 83820 h 1472564"/>
                  <a:gd name="connsiteX12" fmla="*/ 26194 w 1648777"/>
                  <a:gd name="connsiteY12" fmla="*/ 1236345 h 1472564"/>
                  <a:gd name="connsiteX13" fmla="*/ 26194 w 1648777"/>
                  <a:gd name="connsiteY13" fmla="*/ 1390650 h 1472564"/>
                  <a:gd name="connsiteX14" fmla="*/ 159544 w 1648777"/>
                  <a:gd name="connsiteY14" fmla="*/ 1467803 h 1472564"/>
                  <a:gd name="connsiteX15" fmla="*/ 1490186 w 1648777"/>
                  <a:gd name="connsiteY15" fmla="*/ 1467803 h 1472564"/>
                  <a:gd name="connsiteX16" fmla="*/ 1623536 w 1648777"/>
                  <a:gd name="connsiteY16" fmla="*/ 1390650 h 1472564"/>
                  <a:gd name="connsiteX17" fmla="*/ 1623536 w 1648777"/>
                  <a:gd name="connsiteY17" fmla="*/ 1236345 h 1472564"/>
                  <a:gd name="connsiteX18" fmla="*/ 958691 w 1648777"/>
                  <a:gd name="connsiteY18" fmla="*/ 83820 h 1472564"/>
                  <a:gd name="connsiteX19" fmla="*/ 825341 w 1648777"/>
                  <a:gd name="connsiteY19" fmla="*/ 6668 h 1472564"/>
                  <a:gd name="connsiteX20" fmla="*/ 691039 w 1648777"/>
                  <a:gd name="connsiteY20" fmla="*/ 83820 h 1472564"/>
                  <a:gd name="connsiteX21" fmla="*/ 691039 w 1648777"/>
                  <a:gd name="connsiteY21" fmla="*/ 83820 h 147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8777" h="1472564">
                    <a:moveTo>
                      <a:pt x="1490186" y="1472565"/>
                    </a:moveTo>
                    <a:lnTo>
                      <a:pt x="159544" y="1472565"/>
                    </a:lnTo>
                    <a:cubicBezTo>
                      <a:pt x="101441" y="1472565"/>
                      <a:pt x="50006" y="1443038"/>
                      <a:pt x="21431" y="1392555"/>
                    </a:cubicBezTo>
                    <a:cubicBezTo>
                      <a:pt x="-7144" y="1342073"/>
                      <a:pt x="-7144" y="1283018"/>
                      <a:pt x="21431" y="1232535"/>
                    </a:cubicBezTo>
                    <a:lnTo>
                      <a:pt x="686276" y="80010"/>
                    </a:lnTo>
                    <a:cubicBezTo>
                      <a:pt x="714851" y="29528"/>
                      <a:pt x="767239" y="0"/>
                      <a:pt x="824389" y="0"/>
                    </a:cubicBezTo>
                    <a:cubicBezTo>
                      <a:pt x="824389" y="0"/>
                      <a:pt x="824389" y="0"/>
                      <a:pt x="824389" y="0"/>
                    </a:cubicBezTo>
                    <a:cubicBezTo>
                      <a:pt x="882491" y="0"/>
                      <a:pt x="933926" y="29528"/>
                      <a:pt x="962501" y="80010"/>
                    </a:cubicBezTo>
                    <a:lnTo>
                      <a:pt x="1627346" y="1232535"/>
                    </a:lnTo>
                    <a:cubicBezTo>
                      <a:pt x="1655921" y="1283018"/>
                      <a:pt x="1655921" y="1342073"/>
                      <a:pt x="1627346" y="1392555"/>
                    </a:cubicBezTo>
                    <a:cubicBezTo>
                      <a:pt x="1599724" y="1443038"/>
                      <a:pt x="1548289" y="1472565"/>
                      <a:pt x="1490186" y="1472565"/>
                    </a:cubicBezTo>
                    <a:close/>
                    <a:moveTo>
                      <a:pt x="691039" y="83820"/>
                    </a:moveTo>
                    <a:lnTo>
                      <a:pt x="26194" y="1236345"/>
                    </a:lnTo>
                    <a:cubicBezTo>
                      <a:pt x="-1429" y="1284923"/>
                      <a:pt x="-1429" y="1342073"/>
                      <a:pt x="26194" y="1390650"/>
                    </a:cubicBezTo>
                    <a:cubicBezTo>
                      <a:pt x="53816" y="1439228"/>
                      <a:pt x="104299" y="1467803"/>
                      <a:pt x="159544" y="1467803"/>
                    </a:cubicBezTo>
                    <a:lnTo>
                      <a:pt x="1490186" y="1467803"/>
                    </a:lnTo>
                    <a:cubicBezTo>
                      <a:pt x="1546384" y="1467803"/>
                      <a:pt x="1595914" y="1439228"/>
                      <a:pt x="1623536" y="1390650"/>
                    </a:cubicBezTo>
                    <a:cubicBezTo>
                      <a:pt x="1651159" y="1342073"/>
                      <a:pt x="1651159" y="1284923"/>
                      <a:pt x="1623536" y="1236345"/>
                    </a:cubicBezTo>
                    <a:lnTo>
                      <a:pt x="958691" y="83820"/>
                    </a:lnTo>
                    <a:cubicBezTo>
                      <a:pt x="931069" y="35243"/>
                      <a:pt x="880586" y="6668"/>
                      <a:pt x="825341" y="6668"/>
                    </a:cubicBezTo>
                    <a:cubicBezTo>
                      <a:pt x="769144" y="6668"/>
                      <a:pt x="719614" y="35243"/>
                      <a:pt x="691039" y="83820"/>
                    </a:cubicBezTo>
                    <a:lnTo>
                      <a:pt x="691039" y="83820"/>
                    </a:lnTo>
                    <a:close/>
                  </a:path>
                </a:pathLst>
              </a:custGeom>
              <a:grpFill/>
              <a:ln w="9525" cap="flat">
                <a:noFill/>
                <a:prstDash val="solid"/>
                <a:miter/>
              </a:ln>
            </p:spPr>
            <p:txBody>
              <a:bodyPr rtlCol="0" anchor="ctr"/>
              <a:lstStyle/>
              <a:p>
                <a:endParaRPr lang="en-US" sz="1730"/>
              </a:p>
            </p:txBody>
          </p:sp>
        </p:grpSp>
        <p:sp>
          <p:nvSpPr>
            <p:cNvPr id="39" name="Oval 38">
              <a:extLst>
                <a:ext uri="{FF2B5EF4-FFF2-40B4-BE49-F238E27FC236}">
                  <a16:creationId xmlns:a16="http://schemas.microsoft.com/office/drawing/2014/main" id="{9AE111FB-FF99-4626-BF15-A4F33CA3E1B5}"/>
                </a:ext>
              </a:extLst>
            </p:cNvPr>
            <p:cNvSpPr/>
            <p:nvPr userDrawn="1"/>
          </p:nvSpPr>
          <p:spPr bwMode="auto">
            <a:xfrm>
              <a:off x="7282905" y="3548967"/>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EEBF4D1F-7718-4CBE-B978-16FFCC2E3239}"/>
                </a:ext>
              </a:extLst>
            </p:cNvPr>
            <p:cNvSpPr/>
            <p:nvPr userDrawn="1"/>
          </p:nvSpPr>
          <p:spPr bwMode="auto">
            <a:xfrm>
              <a:off x="10896617" y="2909240"/>
              <a:ext cx="124272" cy="12429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59426D11-A3B4-4FDE-8641-D925588DAB39}"/>
                </a:ext>
              </a:extLst>
            </p:cNvPr>
            <p:cNvSpPr/>
            <p:nvPr userDrawn="1"/>
          </p:nvSpPr>
          <p:spPr bwMode="auto">
            <a:xfrm>
              <a:off x="9437993" y="5187887"/>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57EDB010-9BE7-4344-984B-7453B4FF8307}"/>
                </a:ext>
              </a:extLst>
            </p:cNvPr>
            <p:cNvSpPr/>
            <p:nvPr userDrawn="1"/>
          </p:nvSpPr>
          <p:spPr bwMode="auto">
            <a:xfrm>
              <a:off x="9087616" y="1541433"/>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786CA2CE-9797-4C92-9057-B3C8D9338727}"/>
                </a:ext>
              </a:extLst>
            </p:cNvPr>
            <p:cNvSpPr/>
            <p:nvPr userDrawn="1"/>
          </p:nvSpPr>
          <p:spPr bwMode="auto">
            <a:xfrm>
              <a:off x="9052314" y="3314275"/>
              <a:ext cx="229418" cy="22945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F9A1662E-1481-432B-8DC4-FF834AA60F57}"/>
                </a:ext>
              </a:extLst>
            </p:cNvPr>
            <p:cNvSpPr/>
            <p:nvPr userDrawn="1"/>
          </p:nvSpPr>
          <p:spPr bwMode="auto">
            <a:xfrm>
              <a:off x="9104887" y="2889394"/>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715F718A-84C5-42DA-9B9C-64E200753714}"/>
                </a:ext>
              </a:extLst>
            </p:cNvPr>
            <p:cNvSpPr/>
            <p:nvPr userDrawn="1"/>
          </p:nvSpPr>
          <p:spPr bwMode="auto">
            <a:xfrm>
              <a:off x="9104887" y="3844315"/>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48AC1770-CB0D-4E0F-BBE4-41A23A7256AC}"/>
                </a:ext>
              </a:extLst>
            </p:cNvPr>
            <p:cNvSpPr/>
            <p:nvPr userDrawn="1"/>
          </p:nvSpPr>
          <p:spPr bwMode="auto">
            <a:xfrm rot="16200000">
              <a:off x="8628699"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4DE4736B-6655-4B31-833F-1C130B67E3D0}"/>
                </a:ext>
              </a:extLst>
            </p:cNvPr>
            <p:cNvSpPr/>
            <p:nvPr userDrawn="1"/>
          </p:nvSpPr>
          <p:spPr bwMode="auto">
            <a:xfrm rot="16200000">
              <a:off x="9583486"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Footer Placeholder 1">
            <a:extLst>
              <a:ext uri="{FF2B5EF4-FFF2-40B4-BE49-F238E27FC236}">
                <a16:creationId xmlns:a16="http://schemas.microsoft.com/office/drawing/2014/main" id="{5B097BE3-EF10-4B46-96C1-8E86C90AEF09}"/>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72871213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1298640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NoTer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6" name="Text Placeholder 4">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84211867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379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5" name="Footer Placeholder 1">
            <a:extLst>
              <a:ext uri="{FF2B5EF4-FFF2-40B4-BE49-F238E27FC236}">
                <a16:creationId xmlns:a16="http://schemas.microsoft.com/office/drawing/2014/main" id="{7744196A-122B-4882-AC59-654F494CE272}"/>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930575955"/>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59988039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653839"/>
            <a:ext cx="10678558" cy="504339"/>
          </a:xfrm>
          <a:prstGeom prst="rect">
            <a:avLst/>
          </a:prstGeom>
        </p:spPr>
        <p:txBody>
          <a:bodyPr lIns="45705" tIns="18273" rIns="45705" bIns="18273" anchor="ctr"/>
          <a:lstStyle>
            <a:lvl1pPr marL="0" indent="0" algn="l" defTabSz="912971" rtl="0" eaLnBrk="1" latinLnBrk="0" hangingPunct="1">
              <a:lnSpc>
                <a:spcPct val="90000"/>
              </a:lnSpc>
              <a:spcBef>
                <a:spcPts val="999"/>
              </a:spcBef>
              <a:buFont typeface="Arial" panose="020B0604020202020204" pitchFamily="34" charset="0"/>
              <a:buNone/>
              <a:defRPr lang="en-US" sz="3375" b="1" kern="1200" dirty="0">
                <a:solidFill>
                  <a:schemeClr val="bg1"/>
                </a:solidFill>
                <a:effectLst/>
                <a:latin typeface="Helvetica" pitchFamily="2" charset="0"/>
                <a:ea typeface="+mn-ea"/>
                <a:cs typeface="+mn-cs"/>
              </a:defRPr>
            </a:lvl1pPr>
          </a:lstStyle>
          <a:p>
            <a:r>
              <a:rPr lang="en-US" dirty="0"/>
              <a:t>Click to edit Master title style</a:t>
            </a:r>
          </a:p>
        </p:txBody>
      </p:sp>
      <p:cxnSp>
        <p:nvCxnSpPr>
          <p:cNvPr id="7" name="Google Shape;67;p15">
            <a:extLst>
              <a:ext uri="{FF2B5EF4-FFF2-40B4-BE49-F238E27FC236}">
                <a16:creationId xmlns:a16="http://schemas.microsoft.com/office/drawing/2014/main" id="{9C950167-4592-3534-1CFA-A065861E64DB}"/>
              </a:ext>
              <a:ext uri="{C183D7F6-B498-43B3-948B-1728B52AA6E4}">
                <adec:decorative xmlns:adec="http://schemas.microsoft.com/office/drawing/2017/decorative" val="1"/>
              </a:ext>
            </a:extLst>
          </p:cNvPr>
          <p:cNvCxnSpPr/>
          <p:nvPr userDrawn="1"/>
        </p:nvCxnSpPr>
        <p:spPr>
          <a:xfrm>
            <a:off x="840271" y="6377214"/>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268;p27">
            <a:extLst>
              <a:ext uri="{FF2B5EF4-FFF2-40B4-BE49-F238E27FC236}">
                <a16:creationId xmlns:a16="http://schemas.microsoft.com/office/drawing/2014/main" id="{A85CDCA3-5218-7913-EC90-D7FE8699D783}"/>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243549B8-5064-2A3E-909E-36914EBF7314}"/>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179099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7" name="Freeform: Shape 6">
            <a:extLst>
              <a:ext uri="{FF2B5EF4-FFF2-40B4-BE49-F238E27FC236}">
                <a16:creationId xmlns:a16="http://schemas.microsoft.com/office/drawing/2014/main" id="{4CF96AC2-8C24-70C9-A3A3-E7084EDA589D}"/>
              </a:ext>
              <a:ext uri="{C183D7F6-B498-43B3-948B-1728B52AA6E4}">
                <adec:decorative xmlns:adec="http://schemas.microsoft.com/office/drawing/2017/decorative" val="1"/>
              </a:ext>
            </a:extLst>
          </p:cNvPr>
          <p:cNvSpPr/>
          <p:nvPr userDrawn="1"/>
        </p:nvSpPr>
        <p:spPr>
          <a:xfrm>
            <a:off x="1" y="1"/>
            <a:ext cx="7689829" cy="6857999"/>
          </a:xfrm>
          <a:custGeom>
            <a:avLst/>
            <a:gdLst>
              <a:gd name="connsiteX0" fmla="*/ 0 w 12284703"/>
              <a:gd name="connsiteY0" fmla="*/ 0 h 10972798"/>
              <a:gd name="connsiteX1" fmla="*/ 11386938 w 12284703"/>
              <a:gd name="connsiteY1" fmla="*/ 0 h 10972798"/>
              <a:gd name="connsiteX2" fmla="*/ 11433256 w 12284703"/>
              <a:gd name="connsiteY2" fmla="*/ 90435 h 10972798"/>
              <a:gd name="connsiteX3" fmla="*/ 12284703 w 12284703"/>
              <a:gd name="connsiteY3" fmla="*/ 3833809 h 10972798"/>
              <a:gd name="connsiteX4" fmla="*/ 8816398 w 12284703"/>
              <a:gd name="connsiteY4" fmla="*/ 10752868 h 10972798"/>
              <a:gd name="connsiteX5" fmla="*/ 8507122 w 12284703"/>
              <a:gd name="connsiteY5" fmla="*/ 10972798 h 10972798"/>
              <a:gd name="connsiteX6" fmla="*/ 0 w 12284703"/>
              <a:gd name="connsiteY6" fmla="*/ 10972798 h 10972798"/>
              <a:gd name="connsiteX7" fmla="*/ 0 w 12284703"/>
              <a:gd name="connsiteY7" fmla="*/ 0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03" h="10972798">
                <a:moveTo>
                  <a:pt x="0" y="0"/>
                </a:moveTo>
                <a:lnTo>
                  <a:pt x="11386938" y="0"/>
                </a:lnTo>
                <a:lnTo>
                  <a:pt x="11433256" y="90435"/>
                </a:lnTo>
                <a:cubicBezTo>
                  <a:pt x="11978916" y="1222862"/>
                  <a:pt x="12284703" y="2492625"/>
                  <a:pt x="12284703" y="3833809"/>
                </a:cubicBezTo>
                <a:cubicBezTo>
                  <a:pt x="12284703" y="6665197"/>
                  <a:pt x="10921873" y="9178278"/>
                  <a:pt x="8816398" y="10752868"/>
                </a:cubicBezTo>
                <a:lnTo>
                  <a:pt x="8507122" y="10972798"/>
                </a:lnTo>
                <a:lnTo>
                  <a:pt x="0" y="10972798"/>
                </a:lnTo>
                <a:lnTo>
                  <a:pt x="0" y="0"/>
                </a:lnTo>
                <a:close/>
              </a:path>
            </a:pathLst>
          </a:custGeom>
          <a:gradFill>
            <a:gsLst>
              <a:gs pos="68000">
                <a:srgbClr val="D59DFF">
                  <a:alpha val="0"/>
                </a:srgbClr>
              </a:gs>
              <a:gs pos="0">
                <a:schemeClr val="accent3">
                  <a:alpha val="58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94385"/>
            <a:ext cx="10678558" cy="623248"/>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cxnSp>
        <p:nvCxnSpPr>
          <p:cNvPr id="3" name="Straight Connector 2">
            <a:extLst>
              <a:ext uri="{FF2B5EF4-FFF2-40B4-BE49-F238E27FC236}">
                <a16:creationId xmlns:a16="http://schemas.microsoft.com/office/drawing/2014/main" id="{4208A27C-250D-5645-8D7F-C2C259BD6246}"/>
              </a:ext>
              <a:ext uri="{C183D7F6-B498-43B3-948B-1728B52AA6E4}">
                <adec:decorative xmlns:adec="http://schemas.microsoft.com/office/drawing/2017/decorative" val="1"/>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a:lnSpc>
                <a:spcPct val="120000"/>
              </a:lnSpc>
            </a:pPr>
            <a:r>
              <a:rPr lang="en-US" sz="625" spc="375" dirty="0">
                <a:solidFill>
                  <a:srgbClr val="627597"/>
                </a:solidFill>
                <a:latin typeface="Helvetica" pitchFamily="2" charset="0"/>
                <a:cs typeface="Segoe UI Light" panose="020B0502040204020203" pitchFamily="34" charset="0"/>
              </a:rPr>
              <a:t>ACCELERATING INNOVATION WITH DEVOPS</a:t>
            </a: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algn="r">
              <a:lnSpc>
                <a:spcPct val="120000"/>
              </a:lnSpc>
            </a:pPr>
            <a:fld id="{D4F9CC37-649C-A24D-8487-AF6F4FDCA213}" type="slidenum">
              <a:rPr lang="en-US" sz="625" spc="375" smtClean="0">
                <a:solidFill>
                  <a:schemeClr val="bg1"/>
                </a:solidFill>
                <a:latin typeface="Helvetica" pitchFamily="2" charset="0"/>
                <a:cs typeface="Segoe UI Light" panose="020B0502040204020203" pitchFamily="34" charset="0"/>
              </a:rPr>
              <a:t>‹#›</a:t>
            </a:fld>
            <a:endParaRPr lang="en-US" sz="625" spc="375">
              <a:solidFill>
                <a:schemeClr val="bg1"/>
              </a:solidFill>
              <a:latin typeface="Helvetica" pitchFamily="2" charset="0"/>
              <a:cs typeface="Segoe UI Light" panose="020B0502040204020203" pitchFamily="34" charset="0"/>
            </a:endParaRPr>
          </a:p>
        </p:txBody>
      </p:sp>
    </p:spTree>
    <p:extLst>
      <p:ext uri="{BB962C8B-B14F-4D97-AF65-F5344CB8AC3E}">
        <p14:creationId xmlns:p14="http://schemas.microsoft.com/office/powerpoint/2010/main" val="2799043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 uri="{C183D7F6-B498-43B3-948B-1728B52AA6E4}">
                <adec:decorative xmlns:adec="http://schemas.microsoft.com/office/drawing/2017/decorative" val="1"/>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902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689088908"/>
      </p:ext>
    </p:extLst>
  </p:cSld>
  <p:clrMapOvr>
    <a:masterClrMapping/>
  </p:clrMapOvr>
  <p:transition>
    <p:fade/>
  </p:transition>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652352670"/>
      </p:ext>
    </p:extLst>
  </p:cSld>
  <p:clrMapOvr>
    <a:masterClrMapping/>
  </p:clrMapOvr>
  <p:transition>
    <p:fade/>
  </p:transition>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ide Titl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416885-A9D7-4D4F-9C3C-B4BD51EAF0A7}"/>
              </a:ext>
              <a:ext uri="{C183D7F6-B498-43B3-948B-1728B52AA6E4}">
                <adec:decorative xmlns:adec="http://schemas.microsoft.com/office/drawing/2017/decorative" val="1"/>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052634996"/>
      </p:ext>
    </p:extLst>
  </p:cSld>
  <p:clrMapOvr>
    <a:masterClrMapping/>
  </p:clrMapOvr>
  <p:transition>
    <p:fade/>
  </p:transition>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0757EC-4FF9-BAEE-7485-141EA7B26578}"/>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2" name="Text Placeholder 5">
            <a:extLst>
              <a:ext uri="{FF2B5EF4-FFF2-40B4-BE49-F238E27FC236}">
                <a16:creationId xmlns:a16="http://schemas.microsoft.com/office/drawing/2014/main" id="{9EB6AC51-93A4-6A91-6E96-7703B47A1ED8}"/>
              </a:ext>
            </a:extLst>
          </p:cNvPr>
          <p:cNvSpPr>
            <a:spLocks noGrp="1"/>
          </p:cNvSpPr>
          <p:nvPr>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cxnSp>
        <p:nvCxnSpPr>
          <p:cNvPr id="689" name="Straight Connector 688">
            <a:extLst>
              <a:ext uri="{FF2B5EF4-FFF2-40B4-BE49-F238E27FC236}">
                <a16:creationId xmlns:a16="http://schemas.microsoft.com/office/drawing/2014/main" id="{5C88CCD2-738A-99E3-B99C-A657A8E7142F}"/>
              </a:ext>
              <a:ext uri="{C183D7F6-B498-43B3-948B-1728B52AA6E4}">
                <adec:decorative xmlns:adec="http://schemas.microsoft.com/office/drawing/2017/decorative" val="1"/>
              </a:ext>
            </a:extLst>
          </p:cNvPr>
          <p:cNvCxnSpPr>
            <a:cxnSpLocks/>
          </p:cNvCxnSpPr>
          <p:nvPr userDrawn="1"/>
        </p:nvCxnSpPr>
        <p:spPr>
          <a:xfrm>
            <a:off x="4313119"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3" name="Rectangle 692">
            <a:extLst>
              <a:ext uri="{FF2B5EF4-FFF2-40B4-BE49-F238E27FC236}">
                <a16:creationId xmlns:a16="http://schemas.microsoft.com/office/drawing/2014/main" id="{7DC4BF31-42FA-01D2-E6F8-799CB2C035B7}"/>
              </a:ext>
              <a:ext uri="{C183D7F6-B498-43B3-948B-1728B52AA6E4}">
                <adec:decorative xmlns:adec="http://schemas.microsoft.com/office/drawing/2017/decorative" val="1"/>
              </a:ext>
            </a:extLst>
          </p:cNvPr>
          <p:cNvSpPr>
            <a:spLocks/>
          </p:cNvSpPr>
          <p:nvPr userDrawn="1"/>
        </p:nvSpPr>
        <p:spPr bwMode="auto">
          <a:xfrm>
            <a:off x="4313119" y="600075"/>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04" name="Text Placeholder 11">
            <a:extLst>
              <a:ext uri="{FF2B5EF4-FFF2-40B4-BE49-F238E27FC236}">
                <a16:creationId xmlns:a16="http://schemas.microsoft.com/office/drawing/2014/main" id="{4CBC1E11-51F7-4448-E55A-F6A1C32B6487}"/>
              </a:ext>
            </a:extLst>
          </p:cNvPr>
          <p:cNvSpPr>
            <a:spLocks noGrp="1"/>
          </p:cNvSpPr>
          <p:nvPr>
            <p:ph type="body" sz="quarter" idx="31" hasCustomPrompt="1"/>
          </p:nvPr>
        </p:nvSpPr>
        <p:spPr>
          <a:xfrm>
            <a:off x="4375175"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15" name="Text Placeholder 4">
            <a:extLst>
              <a:ext uri="{FF2B5EF4-FFF2-40B4-BE49-F238E27FC236}">
                <a16:creationId xmlns:a16="http://schemas.microsoft.com/office/drawing/2014/main" id="{87F96F3E-EBCA-3ED7-E02D-C0F75131168D}"/>
              </a:ext>
            </a:extLst>
          </p:cNvPr>
          <p:cNvSpPr>
            <a:spLocks noGrp="1"/>
          </p:cNvSpPr>
          <p:nvPr>
            <p:ph type="body" sz="quarter" idx="15" hasCustomPrompt="1"/>
          </p:nvPr>
        </p:nvSpPr>
        <p:spPr>
          <a:xfrm>
            <a:off x="5638562"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28" name="Straight Connector 727">
            <a:extLst>
              <a:ext uri="{FF2B5EF4-FFF2-40B4-BE49-F238E27FC236}">
                <a16:creationId xmlns:a16="http://schemas.microsoft.com/office/drawing/2014/main" id="{33ED4F4D-2ADE-CCA2-7916-0BCADA02FC46}"/>
              </a:ext>
              <a:ext uri="{C183D7F6-B498-43B3-948B-1728B52AA6E4}">
                <adec:decorative xmlns:adec="http://schemas.microsoft.com/office/drawing/2017/decorative" val="1"/>
              </a:ext>
            </a:extLst>
          </p:cNvPr>
          <p:cNvCxnSpPr>
            <a:cxnSpLocks/>
          </p:cNvCxnSpPr>
          <p:nvPr userDrawn="1"/>
        </p:nvCxnSpPr>
        <p:spPr>
          <a:xfrm>
            <a:off x="4313119"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A5C1DD5B-5D1B-1257-295D-34D79F7E8B21}"/>
              </a:ext>
              <a:ext uri="{C183D7F6-B498-43B3-948B-1728B52AA6E4}">
                <adec:decorative xmlns:adec="http://schemas.microsoft.com/office/drawing/2017/decorative" val="1"/>
              </a:ext>
            </a:extLst>
          </p:cNvPr>
          <p:cNvCxnSpPr>
            <a:cxnSpLocks/>
          </p:cNvCxnSpPr>
          <p:nvPr userDrawn="1"/>
        </p:nvCxnSpPr>
        <p:spPr>
          <a:xfrm>
            <a:off x="8120180" y="58578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8" name="Rectangle 737">
            <a:extLst>
              <a:ext uri="{FF2B5EF4-FFF2-40B4-BE49-F238E27FC236}">
                <a16:creationId xmlns:a16="http://schemas.microsoft.com/office/drawing/2014/main" id="{85BF5E5F-9154-85C7-053A-D439A259701A}"/>
              </a:ext>
              <a:ext uri="{C183D7F6-B498-43B3-948B-1728B52AA6E4}">
                <adec:decorative xmlns:adec="http://schemas.microsoft.com/office/drawing/2017/decorative" val="1"/>
              </a:ext>
            </a:extLst>
          </p:cNvPr>
          <p:cNvSpPr>
            <a:spLocks/>
          </p:cNvSpPr>
          <p:nvPr userDrawn="1"/>
        </p:nvSpPr>
        <p:spPr bwMode="auto">
          <a:xfrm>
            <a:off x="8120180" y="600075"/>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44" name="Text Placeholder 11">
            <a:extLst>
              <a:ext uri="{FF2B5EF4-FFF2-40B4-BE49-F238E27FC236}">
                <a16:creationId xmlns:a16="http://schemas.microsoft.com/office/drawing/2014/main" id="{611FDF39-BACF-F8C6-A07D-020762EBB131}"/>
              </a:ext>
            </a:extLst>
          </p:cNvPr>
          <p:cNvSpPr>
            <a:spLocks noGrp="1"/>
          </p:cNvSpPr>
          <p:nvPr>
            <p:ph type="body" sz="quarter" idx="35" hasCustomPrompt="1"/>
          </p:nvPr>
        </p:nvSpPr>
        <p:spPr>
          <a:xfrm>
            <a:off x="8182236"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50" name="Text Placeholder 4">
            <a:extLst>
              <a:ext uri="{FF2B5EF4-FFF2-40B4-BE49-F238E27FC236}">
                <a16:creationId xmlns:a16="http://schemas.microsoft.com/office/drawing/2014/main" id="{52A24C90-353A-4C04-2037-F89C454A88CF}"/>
              </a:ext>
            </a:extLst>
          </p:cNvPr>
          <p:cNvSpPr>
            <a:spLocks noGrp="1"/>
          </p:cNvSpPr>
          <p:nvPr>
            <p:ph type="body" sz="quarter" idx="16" hasCustomPrompt="1"/>
          </p:nvPr>
        </p:nvSpPr>
        <p:spPr>
          <a:xfrm>
            <a:off x="9491780"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53" name="Straight Connector 752">
            <a:extLst>
              <a:ext uri="{FF2B5EF4-FFF2-40B4-BE49-F238E27FC236}">
                <a16:creationId xmlns:a16="http://schemas.microsoft.com/office/drawing/2014/main" id="{863A4D55-5EA2-29F1-5CCD-9575689482A6}"/>
              </a:ext>
            </a:extLst>
          </p:cNvPr>
          <p:cNvCxnSpPr>
            <a:cxnSpLocks/>
          </p:cNvCxnSpPr>
          <p:nvPr userDrawn="1"/>
        </p:nvCxnSpPr>
        <p:spPr>
          <a:xfrm>
            <a:off x="8120180" y="17526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D1EDCB5A-273F-3140-1814-EFF708926F3F}"/>
              </a:ext>
              <a:ext uri="{C183D7F6-B498-43B3-948B-1728B52AA6E4}">
                <adec:decorative xmlns:adec="http://schemas.microsoft.com/office/drawing/2017/decorative" val="1"/>
              </a:ext>
            </a:extLst>
          </p:cNvPr>
          <p:cNvCxnSpPr>
            <a:cxnSpLocks/>
          </p:cNvCxnSpPr>
          <p:nvPr userDrawn="1"/>
        </p:nvCxnSpPr>
        <p:spPr>
          <a:xfrm>
            <a:off x="4313119" y="209938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0" name="Rectangle 759">
            <a:extLst>
              <a:ext uri="{FF2B5EF4-FFF2-40B4-BE49-F238E27FC236}">
                <a16:creationId xmlns:a16="http://schemas.microsoft.com/office/drawing/2014/main" id="{3EA891D2-94D2-22C0-7C52-BDB898CC6F64}"/>
              </a:ext>
              <a:ext uri="{C183D7F6-B498-43B3-948B-1728B52AA6E4}">
                <adec:decorative xmlns:adec="http://schemas.microsoft.com/office/drawing/2017/decorative" val="1"/>
              </a:ext>
            </a:extLst>
          </p:cNvPr>
          <p:cNvSpPr>
            <a:spLocks/>
          </p:cNvSpPr>
          <p:nvPr userDrawn="1"/>
        </p:nvSpPr>
        <p:spPr bwMode="auto">
          <a:xfrm>
            <a:off x="4313119" y="211367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1" name="Text Placeholder 11">
            <a:extLst>
              <a:ext uri="{FF2B5EF4-FFF2-40B4-BE49-F238E27FC236}">
                <a16:creationId xmlns:a16="http://schemas.microsoft.com/office/drawing/2014/main" id="{C77E9F3E-D506-0D96-A685-C32256CCFD82}"/>
              </a:ext>
            </a:extLst>
          </p:cNvPr>
          <p:cNvSpPr>
            <a:spLocks noGrp="1"/>
          </p:cNvSpPr>
          <p:nvPr>
            <p:ph type="body" sz="quarter" idx="40" hasCustomPrompt="1"/>
          </p:nvPr>
        </p:nvSpPr>
        <p:spPr>
          <a:xfrm>
            <a:off x="4375175"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2" name="Text Placeholder 4">
            <a:extLst>
              <a:ext uri="{FF2B5EF4-FFF2-40B4-BE49-F238E27FC236}">
                <a16:creationId xmlns:a16="http://schemas.microsoft.com/office/drawing/2014/main" id="{C9F181F0-9E8A-E907-4CD1-E81179C0E3DE}"/>
              </a:ext>
            </a:extLst>
          </p:cNvPr>
          <p:cNvSpPr>
            <a:spLocks noGrp="1"/>
          </p:cNvSpPr>
          <p:nvPr>
            <p:ph type="body" sz="quarter" idx="41" hasCustomPrompt="1"/>
          </p:nvPr>
        </p:nvSpPr>
        <p:spPr>
          <a:xfrm>
            <a:off x="5638562"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63" name="Straight Connector 762">
            <a:extLst>
              <a:ext uri="{FF2B5EF4-FFF2-40B4-BE49-F238E27FC236}">
                <a16:creationId xmlns:a16="http://schemas.microsoft.com/office/drawing/2014/main" id="{7C3FD2F7-709F-25F7-6968-F715C23434E0}"/>
              </a:ext>
              <a:ext uri="{C183D7F6-B498-43B3-948B-1728B52AA6E4}">
                <adec:decorative xmlns:adec="http://schemas.microsoft.com/office/drawing/2017/decorative" val="1"/>
              </a:ext>
            </a:extLst>
          </p:cNvPr>
          <p:cNvCxnSpPr>
            <a:cxnSpLocks/>
          </p:cNvCxnSpPr>
          <p:nvPr userDrawn="1"/>
        </p:nvCxnSpPr>
        <p:spPr>
          <a:xfrm>
            <a:off x="4313119" y="326619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642B8082-79B6-A093-2191-05F5B63E3654}"/>
              </a:ext>
              <a:ext uri="{C183D7F6-B498-43B3-948B-1728B52AA6E4}">
                <adec:decorative xmlns:adec="http://schemas.microsoft.com/office/drawing/2017/decorative" val="1"/>
              </a:ext>
            </a:extLst>
          </p:cNvPr>
          <p:cNvCxnSpPr>
            <a:cxnSpLocks/>
          </p:cNvCxnSpPr>
          <p:nvPr userDrawn="1"/>
        </p:nvCxnSpPr>
        <p:spPr>
          <a:xfrm>
            <a:off x="8120180" y="209938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5" name="Rectangle 764">
            <a:extLst>
              <a:ext uri="{FF2B5EF4-FFF2-40B4-BE49-F238E27FC236}">
                <a16:creationId xmlns:a16="http://schemas.microsoft.com/office/drawing/2014/main" id="{60A98EA7-9BB2-9A92-C7BF-F813F5E57D9F}"/>
              </a:ext>
              <a:ext uri="{C183D7F6-B498-43B3-948B-1728B52AA6E4}">
                <adec:decorative xmlns:adec="http://schemas.microsoft.com/office/drawing/2017/decorative" val="1"/>
              </a:ext>
            </a:extLst>
          </p:cNvPr>
          <p:cNvSpPr>
            <a:spLocks/>
          </p:cNvSpPr>
          <p:nvPr userDrawn="1"/>
        </p:nvSpPr>
        <p:spPr bwMode="auto">
          <a:xfrm>
            <a:off x="8120180" y="211367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6" name="Text Placeholder 11">
            <a:extLst>
              <a:ext uri="{FF2B5EF4-FFF2-40B4-BE49-F238E27FC236}">
                <a16:creationId xmlns:a16="http://schemas.microsoft.com/office/drawing/2014/main" id="{D70031C1-D8F1-70C8-89D2-D05CFB23FF93}"/>
              </a:ext>
            </a:extLst>
          </p:cNvPr>
          <p:cNvSpPr>
            <a:spLocks noGrp="1"/>
          </p:cNvSpPr>
          <p:nvPr>
            <p:ph type="body" sz="quarter" idx="42" hasCustomPrompt="1"/>
          </p:nvPr>
        </p:nvSpPr>
        <p:spPr>
          <a:xfrm>
            <a:off x="8182236"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7" name="Text Placeholder 4">
            <a:extLst>
              <a:ext uri="{FF2B5EF4-FFF2-40B4-BE49-F238E27FC236}">
                <a16:creationId xmlns:a16="http://schemas.microsoft.com/office/drawing/2014/main" id="{E1019028-55C1-B43E-6573-C15BB9FC8404}"/>
              </a:ext>
            </a:extLst>
          </p:cNvPr>
          <p:cNvSpPr>
            <a:spLocks noGrp="1"/>
          </p:cNvSpPr>
          <p:nvPr>
            <p:ph type="body" sz="quarter" idx="43" hasCustomPrompt="1"/>
          </p:nvPr>
        </p:nvSpPr>
        <p:spPr>
          <a:xfrm>
            <a:off x="9491780"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68" name="Straight Connector 767">
            <a:extLst>
              <a:ext uri="{FF2B5EF4-FFF2-40B4-BE49-F238E27FC236}">
                <a16:creationId xmlns:a16="http://schemas.microsoft.com/office/drawing/2014/main" id="{68905C19-61B6-55AD-BE17-BBB6C1686D33}"/>
              </a:ext>
            </a:extLst>
          </p:cNvPr>
          <p:cNvCxnSpPr>
            <a:cxnSpLocks/>
          </p:cNvCxnSpPr>
          <p:nvPr userDrawn="1"/>
        </p:nvCxnSpPr>
        <p:spPr>
          <a:xfrm>
            <a:off x="8120180" y="326619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9" name="Straight Connector 768">
            <a:extLst>
              <a:ext uri="{FF2B5EF4-FFF2-40B4-BE49-F238E27FC236}">
                <a16:creationId xmlns:a16="http://schemas.microsoft.com/office/drawing/2014/main" id="{0255DA10-CD99-6BBF-1324-21E41D934F87}"/>
              </a:ext>
              <a:ext uri="{C183D7F6-B498-43B3-948B-1728B52AA6E4}">
                <adec:decorative xmlns:adec="http://schemas.microsoft.com/office/drawing/2017/decorative" val="1"/>
              </a:ext>
            </a:extLst>
          </p:cNvPr>
          <p:cNvCxnSpPr>
            <a:cxnSpLocks/>
          </p:cNvCxnSpPr>
          <p:nvPr userDrawn="1"/>
        </p:nvCxnSpPr>
        <p:spPr>
          <a:xfrm>
            <a:off x="4313119" y="3593966"/>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0" name="Rectangle 769">
            <a:extLst>
              <a:ext uri="{FF2B5EF4-FFF2-40B4-BE49-F238E27FC236}">
                <a16:creationId xmlns:a16="http://schemas.microsoft.com/office/drawing/2014/main" id="{11D5B978-CC9B-EBBE-AA28-F252923B87D3}"/>
              </a:ext>
              <a:ext uri="{C183D7F6-B498-43B3-948B-1728B52AA6E4}">
                <adec:decorative xmlns:adec="http://schemas.microsoft.com/office/drawing/2017/decorative" val="1"/>
              </a:ext>
            </a:extLst>
          </p:cNvPr>
          <p:cNvSpPr>
            <a:spLocks/>
          </p:cNvSpPr>
          <p:nvPr userDrawn="1"/>
        </p:nvSpPr>
        <p:spPr bwMode="auto">
          <a:xfrm>
            <a:off x="4313119" y="3608253"/>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71" name="Text Placeholder 11">
            <a:extLst>
              <a:ext uri="{FF2B5EF4-FFF2-40B4-BE49-F238E27FC236}">
                <a16:creationId xmlns:a16="http://schemas.microsoft.com/office/drawing/2014/main" id="{950574B9-AC5F-8FD0-2DA1-2FC8EAC33D46}"/>
              </a:ext>
            </a:extLst>
          </p:cNvPr>
          <p:cNvSpPr>
            <a:spLocks noGrp="1"/>
          </p:cNvSpPr>
          <p:nvPr>
            <p:ph type="body" sz="quarter" idx="44" hasCustomPrompt="1"/>
          </p:nvPr>
        </p:nvSpPr>
        <p:spPr>
          <a:xfrm>
            <a:off x="4375175"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2" name="Text Placeholder 4">
            <a:extLst>
              <a:ext uri="{FF2B5EF4-FFF2-40B4-BE49-F238E27FC236}">
                <a16:creationId xmlns:a16="http://schemas.microsoft.com/office/drawing/2014/main" id="{0B53267C-3E2B-050E-AE2A-157702ACAD7B}"/>
              </a:ext>
            </a:extLst>
          </p:cNvPr>
          <p:cNvSpPr>
            <a:spLocks noGrp="1"/>
          </p:cNvSpPr>
          <p:nvPr>
            <p:ph type="body" sz="quarter" idx="45" hasCustomPrompt="1"/>
          </p:nvPr>
        </p:nvSpPr>
        <p:spPr>
          <a:xfrm>
            <a:off x="5638562"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73" name="Straight Connector 772">
            <a:extLst>
              <a:ext uri="{FF2B5EF4-FFF2-40B4-BE49-F238E27FC236}">
                <a16:creationId xmlns:a16="http://schemas.microsoft.com/office/drawing/2014/main" id="{63661157-F64D-1F99-000F-76C049AD76D4}"/>
              </a:ext>
              <a:ext uri="{C183D7F6-B498-43B3-948B-1728B52AA6E4}">
                <adec:decorative xmlns:adec="http://schemas.microsoft.com/office/drawing/2017/decorative" val="1"/>
              </a:ext>
            </a:extLst>
          </p:cNvPr>
          <p:cNvCxnSpPr>
            <a:cxnSpLocks/>
          </p:cNvCxnSpPr>
          <p:nvPr userDrawn="1"/>
        </p:nvCxnSpPr>
        <p:spPr>
          <a:xfrm>
            <a:off x="4313119" y="476077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4" name="Straight Connector 773">
            <a:extLst>
              <a:ext uri="{FF2B5EF4-FFF2-40B4-BE49-F238E27FC236}">
                <a16:creationId xmlns:a16="http://schemas.microsoft.com/office/drawing/2014/main" id="{71F1600E-0A33-94CE-CA69-854D16E5D784}"/>
              </a:ext>
              <a:ext uri="{C183D7F6-B498-43B3-948B-1728B52AA6E4}">
                <adec:decorative xmlns:adec="http://schemas.microsoft.com/office/drawing/2017/decorative" val="1"/>
              </a:ext>
            </a:extLst>
          </p:cNvPr>
          <p:cNvCxnSpPr>
            <a:cxnSpLocks/>
          </p:cNvCxnSpPr>
          <p:nvPr userDrawn="1"/>
        </p:nvCxnSpPr>
        <p:spPr>
          <a:xfrm>
            <a:off x="8120180" y="3593966"/>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5" name="Rectangle 774">
            <a:extLst>
              <a:ext uri="{FF2B5EF4-FFF2-40B4-BE49-F238E27FC236}">
                <a16:creationId xmlns:a16="http://schemas.microsoft.com/office/drawing/2014/main" id="{2E151F19-72C1-458C-054F-A329C9134E1D}"/>
              </a:ext>
              <a:ext uri="{C183D7F6-B498-43B3-948B-1728B52AA6E4}">
                <adec:decorative xmlns:adec="http://schemas.microsoft.com/office/drawing/2017/decorative" val="1"/>
              </a:ext>
            </a:extLst>
          </p:cNvPr>
          <p:cNvSpPr>
            <a:spLocks/>
          </p:cNvSpPr>
          <p:nvPr userDrawn="1"/>
        </p:nvSpPr>
        <p:spPr bwMode="auto">
          <a:xfrm>
            <a:off x="8120180" y="3608253"/>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76" name="Text Placeholder 11">
            <a:extLst>
              <a:ext uri="{FF2B5EF4-FFF2-40B4-BE49-F238E27FC236}">
                <a16:creationId xmlns:a16="http://schemas.microsoft.com/office/drawing/2014/main" id="{C1177BC6-764A-8B5B-25BD-9DF2A2767E12}"/>
              </a:ext>
            </a:extLst>
          </p:cNvPr>
          <p:cNvSpPr>
            <a:spLocks noGrp="1"/>
          </p:cNvSpPr>
          <p:nvPr>
            <p:ph type="body" sz="quarter" idx="46" hasCustomPrompt="1"/>
          </p:nvPr>
        </p:nvSpPr>
        <p:spPr>
          <a:xfrm>
            <a:off x="8182236"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7" name="Text Placeholder 4">
            <a:extLst>
              <a:ext uri="{FF2B5EF4-FFF2-40B4-BE49-F238E27FC236}">
                <a16:creationId xmlns:a16="http://schemas.microsoft.com/office/drawing/2014/main" id="{A400C53D-464E-5AA6-CE00-C8906CFDACA0}"/>
              </a:ext>
            </a:extLst>
          </p:cNvPr>
          <p:cNvSpPr>
            <a:spLocks noGrp="1"/>
          </p:cNvSpPr>
          <p:nvPr>
            <p:ph type="body" sz="quarter" idx="47" hasCustomPrompt="1"/>
          </p:nvPr>
        </p:nvSpPr>
        <p:spPr>
          <a:xfrm>
            <a:off x="9491780"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78" name="Straight Connector 777">
            <a:extLst>
              <a:ext uri="{FF2B5EF4-FFF2-40B4-BE49-F238E27FC236}">
                <a16:creationId xmlns:a16="http://schemas.microsoft.com/office/drawing/2014/main" id="{E9599700-B04D-B60A-1301-61732888886B}"/>
              </a:ext>
            </a:extLst>
          </p:cNvPr>
          <p:cNvCxnSpPr>
            <a:cxnSpLocks/>
          </p:cNvCxnSpPr>
          <p:nvPr userDrawn="1"/>
        </p:nvCxnSpPr>
        <p:spPr>
          <a:xfrm>
            <a:off x="8120180" y="476077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9" name="Straight Connector 778">
            <a:extLst>
              <a:ext uri="{FF2B5EF4-FFF2-40B4-BE49-F238E27FC236}">
                <a16:creationId xmlns:a16="http://schemas.microsoft.com/office/drawing/2014/main" id="{C75D9230-6AEB-4AF5-338F-9E73F5FE3903}"/>
              </a:ext>
              <a:ext uri="{C183D7F6-B498-43B3-948B-1728B52AA6E4}">
                <adec:decorative xmlns:adec="http://schemas.microsoft.com/office/drawing/2017/decorative" val="1"/>
              </a:ext>
            </a:extLst>
          </p:cNvPr>
          <p:cNvCxnSpPr>
            <a:cxnSpLocks/>
          </p:cNvCxnSpPr>
          <p:nvPr userDrawn="1"/>
        </p:nvCxnSpPr>
        <p:spPr>
          <a:xfrm>
            <a:off x="4313119" y="509256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0" name="Rectangle 779">
            <a:extLst>
              <a:ext uri="{FF2B5EF4-FFF2-40B4-BE49-F238E27FC236}">
                <a16:creationId xmlns:a16="http://schemas.microsoft.com/office/drawing/2014/main" id="{B12CD67E-FFD7-815B-D38F-ED1404155E75}"/>
              </a:ext>
              <a:ext uri="{C183D7F6-B498-43B3-948B-1728B52AA6E4}">
                <adec:decorative xmlns:adec="http://schemas.microsoft.com/office/drawing/2017/decorative" val="1"/>
              </a:ext>
            </a:extLst>
          </p:cNvPr>
          <p:cNvSpPr>
            <a:spLocks/>
          </p:cNvSpPr>
          <p:nvPr userDrawn="1"/>
        </p:nvSpPr>
        <p:spPr bwMode="auto">
          <a:xfrm>
            <a:off x="4313119" y="510685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81" name="Text Placeholder 11">
            <a:extLst>
              <a:ext uri="{FF2B5EF4-FFF2-40B4-BE49-F238E27FC236}">
                <a16:creationId xmlns:a16="http://schemas.microsoft.com/office/drawing/2014/main" id="{DDF92944-F088-8BA4-B364-0C233779A8C2}"/>
              </a:ext>
            </a:extLst>
          </p:cNvPr>
          <p:cNvSpPr>
            <a:spLocks noGrp="1"/>
          </p:cNvSpPr>
          <p:nvPr>
            <p:ph type="body" sz="quarter" idx="48" hasCustomPrompt="1"/>
          </p:nvPr>
        </p:nvSpPr>
        <p:spPr>
          <a:xfrm>
            <a:off x="4375175"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2" name="Text Placeholder 4">
            <a:extLst>
              <a:ext uri="{FF2B5EF4-FFF2-40B4-BE49-F238E27FC236}">
                <a16:creationId xmlns:a16="http://schemas.microsoft.com/office/drawing/2014/main" id="{FE520043-E07A-BED8-A00A-914DB1A09DC6}"/>
              </a:ext>
            </a:extLst>
          </p:cNvPr>
          <p:cNvSpPr>
            <a:spLocks noGrp="1"/>
          </p:cNvSpPr>
          <p:nvPr>
            <p:ph type="body" sz="quarter" idx="49" hasCustomPrompt="1"/>
          </p:nvPr>
        </p:nvSpPr>
        <p:spPr>
          <a:xfrm>
            <a:off x="5638562"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83" name="Straight Connector 782">
            <a:extLst>
              <a:ext uri="{FF2B5EF4-FFF2-40B4-BE49-F238E27FC236}">
                <a16:creationId xmlns:a16="http://schemas.microsoft.com/office/drawing/2014/main" id="{AA92DE87-56DB-ED3E-F344-FC899DF2FE7B}"/>
              </a:ext>
              <a:ext uri="{C183D7F6-B498-43B3-948B-1728B52AA6E4}">
                <adec:decorative xmlns:adec="http://schemas.microsoft.com/office/drawing/2017/decorative" val="1"/>
              </a:ext>
            </a:extLst>
          </p:cNvPr>
          <p:cNvCxnSpPr>
            <a:cxnSpLocks/>
          </p:cNvCxnSpPr>
          <p:nvPr userDrawn="1"/>
        </p:nvCxnSpPr>
        <p:spPr>
          <a:xfrm>
            <a:off x="4313119" y="625937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BB4E85B0-A346-D759-6D9D-61692356068D}"/>
              </a:ext>
              <a:ext uri="{C183D7F6-B498-43B3-948B-1728B52AA6E4}">
                <adec:decorative xmlns:adec="http://schemas.microsoft.com/office/drawing/2017/decorative" val="1"/>
              </a:ext>
            </a:extLst>
          </p:cNvPr>
          <p:cNvCxnSpPr>
            <a:cxnSpLocks/>
          </p:cNvCxnSpPr>
          <p:nvPr userDrawn="1"/>
        </p:nvCxnSpPr>
        <p:spPr>
          <a:xfrm>
            <a:off x="8120180" y="509256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5" name="Rectangle 784">
            <a:extLst>
              <a:ext uri="{FF2B5EF4-FFF2-40B4-BE49-F238E27FC236}">
                <a16:creationId xmlns:a16="http://schemas.microsoft.com/office/drawing/2014/main" id="{EFA4232E-9489-90FE-A08D-014A02CC2BD4}"/>
              </a:ext>
              <a:ext uri="{C183D7F6-B498-43B3-948B-1728B52AA6E4}">
                <adec:decorative xmlns:adec="http://schemas.microsoft.com/office/drawing/2017/decorative" val="1"/>
              </a:ext>
            </a:extLst>
          </p:cNvPr>
          <p:cNvSpPr>
            <a:spLocks/>
          </p:cNvSpPr>
          <p:nvPr userDrawn="1"/>
        </p:nvSpPr>
        <p:spPr bwMode="auto">
          <a:xfrm>
            <a:off x="8120180" y="510685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86" name="Text Placeholder 11">
            <a:extLst>
              <a:ext uri="{FF2B5EF4-FFF2-40B4-BE49-F238E27FC236}">
                <a16:creationId xmlns:a16="http://schemas.microsoft.com/office/drawing/2014/main" id="{E62E023A-00A4-FE21-F746-CE38767A7BF2}"/>
              </a:ext>
            </a:extLst>
          </p:cNvPr>
          <p:cNvSpPr>
            <a:spLocks noGrp="1"/>
          </p:cNvSpPr>
          <p:nvPr>
            <p:ph type="body" sz="quarter" idx="50" hasCustomPrompt="1"/>
          </p:nvPr>
        </p:nvSpPr>
        <p:spPr>
          <a:xfrm>
            <a:off x="8182236"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7" name="Text Placeholder 4">
            <a:extLst>
              <a:ext uri="{FF2B5EF4-FFF2-40B4-BE49-F238E27FC236}">
                <a16:creationId xmlns:a16="http://schemas.microsoft.com/office/drawing/2014/main" id="{C15B5C76-8C7B-5514-091F-CC469DB23DC5}"/>
              </a:ext>
            </a:extLst>
          </p:cNvPr>
          <p:cNvSpPr>
            <a:spLocks noGrp="1"/>
          </p:cNvSpPr>
          <p:nvPr>
            <p:ph type="body" sz="quarter" idx="51" hasCustomPrompt="1"/>
          </p:nvPr>
        </p:nvSpPr>
        <p:spPr>
          <a:xfrm>
            <a:off x="9491780"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88" name="Straight Connector 787">
            <a:extLst>
              <a:ext uri="{FF2B5EF4-FFF2-40B4-BE49-F238E27FC236}">
                <a16:creationId xmlns:a16="http://schemas.microsoft.com/office/drawing/2014/main" id="{AA5CAD46-02DC-2544-3A3C-8378C1F83E85}"/>
              </a:ext>
            </a:extLst>
          </p:cNvPr>
          <p:cNvCxnSpPr>
            <a:cxnSpLocks/>
          </p:cNvCxnSpPr>
          <p:nvPr userDrawn="1"/>
        </p:nvCxnSpPr>
        <p:spPr>
          <a:xfrm>
            <a:off x="8120180" y="625937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9" name="Footer Placeholder 4">
            <a:extLst>
              <a:ext uri="{FF2B5EF4-FFF2-40B4-BE49-F238E27FC236}">
                <a16:creationId xmlns:a16="http://schemas.microsoft.com/office/drawing/2014/main" id="{E46B1A24-B033-7273-233D-82659F0E920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791" name="Slide Number Placeholder 5">
            <a:extLst>
              <a:ext uri="{FF2B5EF4-FFF2-40B4-BE49-F238E27FC236}">
                <a16:creationId xmlns:a16="http://schemas.microsoft.com/office/drawing/2014/main" id="{D487330E-F640-FA1C-B338-CC4084B06F1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856694673"/>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
        <p:nvSpPr>
          <p:cNvPr id="3" name="Footer Placeholder 4">
            <a:extLst>
              <a:ext uri="{FF2B5EF4-FFF2-40B4-BE49-F238E27FC236}">
                <a16:creationId xmlns:a16="http://schemas.microsoft.com/office/drawing/2014/main" id="{640ED799-EE3B-F8CF-D328-F48D5C0556C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1EB882BB-BD97-1EA1-637C-9A948C922C2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117268578"/>
      </p:ext>
    </p:extLst>
  </p:cSld>
  <p:clrMapOvr>
    <a:masterClrMapping/>
  </p:clrMapOvr>
  <p:transition>
    <p:fade/>
  </p:transition>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847C1FC-C41F-5616-30AC-30E6074B5835}"/>
              </a:ext>
              <a:ext uri="{C183D7F6-B498-43B3-948B-1728B52AA6E4}">
                <adec:decorative xmlns:adec="http://schemas.microsoft.com/office/drawing/2017/decorative" val="1"/>
              </a:ext>
            </a:extLst>
          </p:cNvPr>
          <p:cNvCxnSpPr>
            <a:cxnSpLocks/>
          </p:cNvCxnSpPr>
          <p:nvPr userDrawn="1"/>
        </p:nvCxnSpPr>
        <p:spPr>
          <a:xfrm>
            <a:off x="579319"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333CDE31-0DA0-D679-C7C5-F462636D7BCA}"/>
              </a:ext>
            </a:extLst>
          </p:cNvPr>
          <p:cNvSpPr>
            <a:spLocks noGrp="1"/>
          </p:cNvSpPr>
          <p:nvPr>
            <p:ph type="body" sz="quarter" idx="31" hasCustomPrompt="1"/>
          </p:nvPr>
        </p:nvSpPr>
        <p:spPr>
          <a:xfrm>
            <a:off x="579319"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8" name="Text Placeholder 4">
            <a:extLst>
              <a:ext uri="{FF2B5EF4-FFF2-40B4-BE49-F238E27FC236}">
                <a16:creationId xmlns:a16="http://schemas.microsoft.com/office/drawing/2014/main" id="{CEDF1698-2DDE-D658-011E-DF4C7278721E}"/>
              </a:ext>
            </a:extLst>
          </p:cNvPr>
          <p:cNvSpPr>
            <a:spLocks noGrp="1"/>
          </p:cNvSpPr>
          <p:nvPr>
            <p:ph type="body" sz="quarter" idx="15" hasCustomPrompt="1"/>
          </p:nvPr>
        </p:nvSpPr>
        <p:spPr>
          <a:xfrm>
            <a:off x="1904762"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10" name="Straight Connector 9">
            <a:extLst>
              <a:ext uri="{FF2B5EF4-FFF2-40B4-BE49-F238E27FC236}">
                <a16:creationId xmlns:a16="http://schemas.microsoft.com/office/drawing/2014/main" id="{2DBF9DC5-4B6A-7679-E13D-1A11AE732B8E}"/>
              </a:ext>
              <a:ext uri="{C183D7F6-B498-43B3-948B-1728B52AA6E4}">
                <adec:decorative xmlns:adec="http://schemas.microsoft.com/office/drawing/2017/decorative" val="1"/>
              </a:ext>
            </a:extLst>
          </p:cNvPr>
          <p:cNvCxnSpPr>
            <a:cxnSpLocks/>
          </p:cNvCxnSpPr>
          <p:nvPr userDrawn="1"/>
        </p:nvCxnSpPr>
        <p:spPr>
          <a:xfrm>
            <a:off x="579319"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2C08F9-EC91-2882-4266-DDDFA5751E15}"/>
              </a:ext>
              <a:ext uri="{C183D7F6-B498-43B3-948B-1728B52AA6E4}">
                <adec:decorative xmlns:adec="http://schemas.microsoft.com/office/drawing/2017/decorative" val="1"/>
              </a:ext>
            </a:extLst>
          </p:cNvPr>
          <p:cNvCxnSpPr>
            <a:cxnSpLocks/>
          </p:cNvCxnSpPr>
          <p:nvPr userDrawn="1"/>
        </p:nvCxnSpPr>
        <p:spPr>
          <a:xfrm>
            <a:off x="4386380" y="58578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11">
            <a:extLst>
              <a:ext uri="{FF2B5EF4-FFF2-40B4-BE49-F238E27FC236}">
                <a16:creationId xmlns:a16="http://schemas.microsoft.com/office/drawing/2014/main" id="{A60DEA5F-546C-A554-A812-D6EE461A3D64}"/>
              </a:ext>
            </a:extLst>
          </p:cNvPr>
          <p:cNvSpPr>
            <a:spLocks noGrp="1"/>
          </p:cNvSpPr>
          <p:nvPr>
            <p:ph type="body" sz="quarter" idx="35" hasCustomPrompt="1"/>
          </p:nvPr>
        </p:nvSpPr>
        <p:spPr>
          <a:xfrm>
            <a:off x="4386380"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18" name="Text Placeholder 4">
            <a:extLst>
              <a:ext uri="{FF2B5EF4-FFF2-40B4-BE49-F238E27FC236}">
                <a16:creationId xmlns:a16="http://schemas.microsoft.com/office/drawing/2014/main" id="{9C8EC633-39C2-61C0-DA1F-E37FC58C68E9}"/>
              </a:ext>
            </a:extLst>
          </p:cNvPr>
          <p:cNvSpPr>
            <a:spLocks noGrp="1"/>
          </p:cNvSpPr>
          <p:nvPr>
            <p:ph type="body" sz="quarter" idx="16" hasCustomPrompt="1"/>
          </p:nvPr>
        </p:nvSpPr>
        <p:spPr>
          <a:xfrm>
            <a:off x="5757980"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20" name="Straight Connector 19">
            <a:extLst>
              <a:ext uri="{FF2B5EF4-FFF2-40B4-BE49-F238E27FC236}">
                <a16:creationId xmlns:a16="http://schemas.microsoft.com/office/drawing/2014/main" id="{A7B66C5F-0DE2-0E48-B5D4-B7AC09A7EAB6}"/>
              </a:ext>
            </a:extLst>
          </p:cNvPr>
          <p:cNvCxnSpPr>
            <a:cxnSpLocks/>
          </p:cNvCxnSpPr>
          <p:nvPr userDrawn="1"/>
        </p:nvCxnSpPr>
        <p:spPr>
          <a:xfrm>
            <a:off x="4386380" y="17526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64B11DB-175B-3114-7806-7D2B3A762332}"/>
              </a:ext>
              <a:ext uri="{C183D7F6-B498-43B3-948B-1728B52AA6E4}">
                <adec:decorative xmlns:adec="http://schemas.microsoft.com/office/drawing/2017/decorative" val="1"/>
              </a:ext>
            </a:extLst>
          </p:cNvPr>
          <p:cNvCxnSpPr>
            <a:cxnSpLocks/>
          </p:cNvCxnSpPr>
          <p:nvPr userDrawn="1"/>
        </p:nvCxnSpPr>
        <p:spPr>
          <a:xfrm>
            <a:off x="579319" y="209938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A287CA74-6042-A468-126C-ED02330AE81F}"/>
              </a:ext>
            </a:extLst>
          </p:cNvPr>
          <p:cNvSpPr>
            <a:spLocks noGrp="1"/>
          </p:cNvSpPr>
          <p:nvPr>
            <p:ph type="body" sz="quarter" idx="40" hasCustomPrompt="1"/>
          </p:nvPr>
        </p:nvSpPr>
        <p:spPr>
          <a:xfrm>
            <a:off x="579319"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28" name="Text Placeholder 4">
            <a:extLst>
              <a:ext uri="{FF2B5EF4-FFF2-40B4-BE49-F238E27FC236}">
                <a16:creationId xmlns:a16="http://schemas.microsoft.com/office/drawing/2014/main" id="{A081BDE6-8D7C-FFD5-8248-A041B6B0B859}"/>
              </a:ext>
            </a:extLst>
          </p:cNvPr>
          <p:cNvSpPr>
            <a:spLocks noGrp="1"/>
          </p:cNvSpPr>
          <p:nvPr>
            <p:ph type="body" sz="quarter" idx="41" hasCustomPrompt="1"/>
          </p:nvPr>
        </p:nvSpPr>
        <p:spPr>
          <a:xfrm>
            <a:off x="1904762"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32" name="Straight Connector 31">
            <a:extLst>
              <a:ext uri="{FF2B5EF4-FFF2-40B4-BE49-F238E27FC236}">
                <a16:creationId xmlns:a16="http://schemas.microsoft.com/office/drawing/2014/main" id="{BEC42C6F-14D8-D06B-140A-42A1E3F65151}"/>
              </a:ext>
              <a:ext uri="{C183D7F6-B498-43B3-948B-1728B52AA6E4}">
                <adec:decorative xmlns:adec="http://schemas.microsoft.com/office/drawing/2017/decorative" val="1"/>
              </a:ext>
            </a:extLst>
          </p:cNvPr>
          <p:cNvCxnSpPr>
            <a:cxnSpLocks/>
          </p:cNvCxnSpPr>
          <p:nvPr userDrawn="1"/>
        </p:nvCxnSpPr>
        <p:spPr>
          <a:xfrm>
            <a:off x="579319" y="326619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6B59CF5-909E-79B8-4D64-4C02833408F3}"/>
              </a:ext>
              <a:ext uri="{C183D7F6-B498-43B3-948B-1728B52AA6E4}">
                <adec:decorative xmlns:adec="http://schemas.microsoft.com/office/drawing/2017/decorative" val="1"/>
              </a:ext>
            </a:extLst>
          </p:cNvPr>
          <p:cNvCxnSpPr>
            <a:cxnSpLocks/>
          </p:cNvCxnSpPr>
          <p:nvPr userDrawn="1"/>
        </p:nvCxnSpPr>
        <p:spPr>
          <a:xfrm>
            <a:off x="4386380" y="209938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ext Placeholder 11">
            <a:extLst>
              <a:ext uri="{FF2B5EF4-FFF2-40B4-BE49-F238E27FC236}">
                <a16:creationId xmlns:a16="http://schemas.microsoft.com/office/drawing/2014/main" id="{008D21C6-4CD5-1E56-CB17-4F17E5F210DF}"/>
              </a:ext>
            </a:extLst>
          </p:cNvPr>
          <p:cNvSpPr>
            <a:spLocks noGrp="1"/>
          </p:cNvSpPr>
          <p:nvPr>
            <p:ph type="body" sz="quarter" idx="42" hasCustomPrompt="1"/>
          </p:nvPr>
        </p:nvSpPr>
        <p:spPr>
          <a:xfrm>
            <a:off x="4386380"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50" name="Text Placeholder 4">
            <a:extLst>
              <a:ext uri="{FF2B5EF4-FFF2-40B4-BE49-F238E27FC236}">
                <a16:creationId xmlns:a16="http://schemas.microsoft.com/office/drawing/2014/main" id="{00C38BDA-CC4E-B63A-6F64-6E9A87E2EB1E}"/>
              </a:ext>
            </a:extLst>
          </p:cNvPr>
          <p:cNvSpPr>
            <a:spLocks noGrp="1"/>
          </p:cNvSpPr>
          <p:nvPr>
            <p:ph type="body" sz="quarter" idx="43" hasCustomPrompt="1"/>
          </p:nvPr>
        </p:nvSpPr>
        <p:spPr>
          <a:xfrm>
            <a:off x="5757980"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51" name="Straight Connector 50">
            <a:extLst>
              <a:ext uri="{FF2B5EF4-FFF2-40B4-BE49-F238E27FC236}">
                <a16:creationId xmlns:a16="http://schemas.microsoft.com/office/drawing/2014/main" id="{37E194DE-244A-6752-AF70-D22D524DE291}"/>
              </a:ext>
            </a:extLst>
          </p:cNvPr>
          <p:cNvCxnSpPr>
            <a:cxnSpLocks/>
          </p:cNvCxnSpPr>
          <p:nvPr userDrawn="1"/>
        </p:nvCxnSpPr>
        <p:spPr>
          <a:xfrm>
            <a:off x="4386380" y="326619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05F3348-ABBF-3898-C521-F1ABB80296B5}"/>
              </a:ext>
              <a:ext uri="{C183D7F6-B498-43B3-948B-1728B52AA6E4}">
                <adec:decorative xmlns:adec="http://schemas.microsoft.com/office/drawing/2017/decorative" val="1"/>
              </a:ext>
            </a:extLst>
          </p:cNvPr>
          <p:cNvCxnSpPr>
            <a:cxnSpLocks/>
          </p:cNvCxnSpPr>
          <p:nvPr userDrawn="1"/>
        </p:nvCxnSpPr>
        <p:spPr>
          <a:xfrm>
            <a:off x="579319" y="3593966"/>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Text Placeholder 11">
            <a:extLst>
              <a:ext uri="{FF2B5EF4-FFF2-40B4-BE49-F238E27FC236}">
                <a16:creationId xmlns:a16="http://schemas.microsoft.com/office/drawing/2014/main" id="{83495F03-7248-CAAE-49FE-C76AF4126377}"/>
              </a:ext>
            </a:extLst>
          </p:cNvPr>
          <p:cNvSpPr>
            <a:spLocks noGrp="1"/>
          </p:cNvSpPr>
          <p:nvPr>
            <p:ph type="body" sz="quarter" idx="44" hasCustomPrompt="1"/>
          </p:nvPr>
        </p:nvSpPr>
        <p:spPr>
          <a:xfrm>
            <a:off x="579319"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55" name="Text Placeholder 4">
            <a:extLst>
              <a:ext uri="{FF2B5EF4-FFF2-40B4-BE49-F238E27FC236}">
                <a16:creationId xmlns:a16="http://schemas.microsoft.com/office/drawing/2014/main" id="{0ED52B79-C2CD-DBAB-4A8E-88CA0D7EB7A1}"/>
              </a:ext>
            </a:extLst>
          </p:cNvPr>
          <p:cNvSpPr>
            <a:spLocks noGrp="1"/>
          </p:cNvSpPr>
          <p:nvPr>
            <p:ph type="body" sz="quarter" idx="45" hasCustomPrompt="1"/>
          </p:nvPr>
        </p:nvSpPr>
        <p:spPr>
          <a:xfrm>
            <a:off x="1904762"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56" name="Straight Connector 55">
            <a:extLst>
              <a:ext uri="{FF2B5EF4-FFF2-40B4-BE49-F238E27FC236}">
                <a16:creationId xmlns:a16="http://schemas.microsoft.com/office/drawing/2014/main" id="{B3DEB32C-BBEE-2B75-2D4A-A0C2340E8AAF}"/>
              </a:ext>
              <a:ext uri="{C183D7F6-B498-43B3-948B-1728B52AA6E4}">
                <adec:decorative xmlns:adec="http://schemas.microsoft.com/office/drawing/2017/decorative" val="1"/>
              </a:ext>
            </a:extLst>
          </p:cNvPr>
          <p:cNvCxnSpPr>
            <a:cxnSpLocks/>
          </p:cNvCxnSpPr>
          <p:nvPr userDrawn="1"/>
        </p:nvCxnSpPr>
        <p:spPr>
          <a:xfrm>
            <a:off x="579319" y="476077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AB2165A-076A-BAD0-6ADC-7C67E324E7BA}"/>
              </a:ext>
              <a:ext uri="{C183D7F6-B498-43B3-948B-1728B52AA6E4}">
                <adec:decorative xmlns:adec="http://schemas.microsoft.com/office/drawing/2017/decorative" val="1"/>
              </a:ext>
            </a:extLst>
          </p:cNvPr>
          <p:cNvCxnSpPr>
            <a:cxnSpLocks/>
          </p:cNvCxnSpPr>
          <p:nvPr userDrawn="1"/>
        </p:nvCxnSpPr>
        <p:spPr>
          <a:xfrm>
            <a:off x="4386380" y="3593966"/>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1">
            <a:extLst>
              <a:ext uri="{FF2B5EF4-FFF2-40B4-BE49-F238E27FC236}">
                <a16:creationId xmlns:a16="http://schemas.microsoft.com/office/drawing/2014/main" id="{E0D7590D-780F-4728-0A9C-6B188933B553}"/>
              </a:ext>
            </a:extLst>
          </p:cNvPr>
          <p:cNvSpPr>
            <a:spLocks noGrp="1"/>
          </p:cNvSpPr>
          <p:nvPr>
            <p:ph type="body" sz="quarter" idx="46" hasCustomPrompt="1"/>
          </p:nvPr>
        </p:nvSpPr>
        <p:spPr>
          <a:xfrm>
            <a:off x="4386380"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60" name="Text Placeholder 4">
            <a:extLst>
              <a:ext uri="{FF2B5EF4-FFF2-40B4-BE49-F238E27FC236}">
                <a16:creationId xmlns:a16="http://schemas.microsoft.com/office/drawing/2014/main" id="{9CFBB907-6081-CC2B-580A-DDA2BC7001CB}"/>
              </a:ext>
            </a:extLst>
          </p:cNvPr>
          <p:cNvSpPr>
            <a:spLocks noGrp="1"/>
          </p:cNvSpPr>
          <p:nvPr>
            <p:ph type="body" sz="quarter" idx="47" hasCustomPrompt="1"/>
          </p:nvPr>
        </p:nvSpPr>
        <p:spPr>
          <a:xfrm>
            <a:off x="5757980"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61" name="Straight Connector 60">
            <a:extLst>
              <a:ext uri="{FF2B5EF4-FFF2-40B4-BE49-F238E27FC236}">
                <a16:creationId xmlns:a16="http://schemas.microsoft.com/office/drawing/2014/main" id="{15461FEA-414A-3C2B-C09C-C75C443CF174}"/>
              </a:ext>
            </a:extLst>
          </p:cNvPr>
          <p:cNvCxnSpPr>
            <a:cxnSpLocks/>
          </p:cNvCxnSpPr>
          <p:nvPr userDrawn="1"/>
        </p:nvCxnSpPr>
        <p:spPr>
          <a:xfrm>
            <a:off x="4386380" y="476077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257409B-86D6-3FE6-8F2D-F3BEBFE56887}"/>
              </a:ext>
              <a:ext uri="{C183D7F6-B498-43B3-948B-1728B52AA6E4}">
                <adec:decorative xmlns:adec="http://schemas.microsoft.com/office/drawing/2017/decorative" val="1"/>
              </a:ext>
            </a:extLst>
          </p:cNvPr>
          <p:cNvCxnSpPr>
            <a:cxnSpLocks/>
          </p:cNvCxnSpPr>
          <p:nvPr userDrawn="1"/>
        </p:nvCxnSpPr>
        <p:spPr>
          <a:xfrm>
            <a:off x="579319" y="509256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 Placeholder 11">
            <a:extLst>
              <a:ext uri="{FF2B5EF4-FFF2-40B4-BE49-F238E27FC236}">
                <a16:creationId xmlns:a16="http://schemas.microsoft.com/office/drawing/2014/main" id="{B8805886-66B4-8DC6-FD32-1C2CD23967EF}"/>
              </a:ext>
            </a:extLst>
          </p:cNvPr>
          <p:cNvSpPr>
            <a:spLocks noGrp="1"/>
          </p:cNvSpPr>
          <p:nvPr>
            <p:ph type="body" sz="quarter" idx="48" hasCustomPrompt="1"/>
          </p:nvPr>
        </p:nvSpPr>
        <p:spPr>
          <a:xfrm>
            <a:off x="579319"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65" name="Text Placeholder 4">
            <a:extLst>
              <a:ext uri="{FF2B5EF4-FFF2-40B4-BE49-F238E27FC236}">
                <a16:creationId xmlns:a16="http://schemas.microsoft.com/office/drawing/2014/main" id="{E2B1CBC8-5D22-E8DE-98D8-768CD45294D8}"/>
              </a:ext>
            </a:extLst>
          </p:cNvPr>
          <p:cNvSpPr>
            <a:spLocks noGrp="1"/>
          </p:cNvSpPr>
          <p:nvPr>
            <p:ph type="body" sz="quarter" idx="49" hasCustomPrompt="1"/>
          </p:nvPr>
        </p:nvSpPr>
        <p:spPr>
          <a:xfrm>
            <a:off x="1904762"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66" name="Straight Connector 65">
            <a:extLst>
              <a:ext uri="{FF2B5EF4-FFF2-40B4-BE49-F238E27FC236}">
                <a16:creationId xmlns:a16="http://schemas.microsoft.com/office/drawing/2014/main" id="{B664030E-9C34-4181-5FB5-47122367896F}"/>
              </a:ext>
              <a:ext uri="{C183D7F6-B498-43B3-948B-1728B52AA6E4}">
                <adec:decorative xmlns:adec="http://schemas.microsoft.com/office/drawing/2017/decorative" val="1"/>
              </a:ext>
            </a:extLst>
          </p:cNvPr>
          <p:cNvCxnSpPr>
            <a:cxnSpLocks/>
          </p:cNvCxnSpPr>
          <p:nvPr userDrawn="1"/>
        </p:nvCxnSpPr>
        <p:spPr>
          <a:xfrm>
            <a:off x="579319" y="625937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Footer Placeholder 4">
            <a:extLst>
              <a:ext uri="{FF2B5EF4-FFF2-40B4-BE49-F238E27FC236}">
                <a16:creationId xmlns:a16="http://schemas.microsoft.com/office/drawing/2014/main" id="{538DF203-B783-E76C-44F0-6764EC4C47C3}"/>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74" name="Slide Number Placeholder 5">
            <a:extLst>
              <a:ext uri="{FF2B5EF4-FFF2-40B4-BE49-F238E27FC236}">
                <a16:creationId xmlns:a16="http://schemas.microsoft.com/office/drawing/2014/main" id="{BEDB77B4-A2A7-EFB2-8BB4-3DDDD744FE9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763957945"/>
      </p:ext>
    </p:extLst>
  </p:cSld>
  <p:clrMapOvr>
    <a:masterClrMapping/>
  </p:clrMapOvr>
  <p:transition>
    <p:fade/>
  </p:transition>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_Subtitle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753000900"/>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54" name="Text Placeholder 4">
            <a:extLst>
              <a:ext uri="{FF2B5EF4-FFF2-40B4-BE49-F238E27FC236}">
                <a16:creationId xmlns:a16="http://schemas.microsoft.com/office/drawing/2014/main" id="{73C30779-5B33-B64E-A12E-25D5F3B74CDD}"/>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cxnSp>
        <p:nvCxnSpPr>
          <p:cNvPr id="3" name="Straight Connector 2">
            <a:extLst>
              <a:ext uri="{FF2B5EF4-FFF2-40B4-BE49-F238E27FC236}">
                <a16:creationId xmlns:a16="http://schemas.microsoft.com/office/drawing/2014/main" id="{421C2FC3-E073-E03A-FCB1-7C5F9DD850A6}"/>
              </a:ext>
            </a:extLst>
          </p:cNvPr>
          <p:cNvCxnSpPr>
            <a:cxnSpLocks/>
          </p:cNvCxnSpPr>
          <p:nvPr userDrawn="1"/>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Text Placeholder 4">
            <a:extLst>
              <a:ext uri="{FF2B5EF4-FFF2-40B4-BE49-F238E27FC236}">
                <a16:creationId xmlns:a16="http://schemas.microsoft.com/office/drawing/2014/main" id="{03D721EB-8CCA-A75D-E82D-6CE58486DF42}"/>
              </a:ext>
            </a:extLst>
          </p:cNvPr>
          <p:cNvSpPr>
            <a:spLocks noGrp="1"/>
          </p:cNvSpPr>
          <p:nvPr>
            <p:ph type="body" sz="quarter" idx="16" hasCustomPrompt="1"/>
          </p:nvPr>
        </p:nvSpPr>
        <p:spPr>
          <a:xfrm>
            <a:off x="6136944" y="8381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6" name="Text Placeholder 4">
            <a:extLst>
              <a:ext uri="{FF2B5EF4-FFF2-40B4-BE49-F238E27FC236}">
                <a16:creationId xmlns:a16="http://schemas.microsoft.com/office/drawing/2014/main" id="{9F1CB257-5DED-B7F1-E259-3B69A1813B64}"/>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73" name="Straight Connector 72">
            <a:extLst>
              <a:ext uri="{FF2B5EF4-FFF2-40B4-BE49-F238E27FC236}">
                <a16:creationId xmlns:a16="http://schemas.microsoft.com/office/drawing/2014/main" id="{14C0B115-E908-84C5-69F3-1090E49D1C0D}"/>
              </a:ext>
            </a:extLst>
          </p:cNvPr>
          <p:cNvCxnSpPr>
            <a:cxnSpLocks/>
          </p:cNvCxnSpPr>
          <p:nvPr userDrawn="1"/>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A1CF40E-582F-BE60-610A-D4988884B76A}"/>
              </a:ext>
            </a:extLst>
          </p:cNvPr>
          <p:cNvCxnSpPr>
            <a:cxnSpLocks/>
          </p:cNvCxnSpPr>
          <p:nvPr userDrawn="1"/>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Text Placeholder 4">
            <a:extLst>
              <a:ext uri="{FF2B5EF4-FFF2-40B4-BE49-F238E27FC236}">
                <a16:creationId xmlns:a16="http://schemas.microsoft.com/office/drawing/2014/main" id="{1906F961-4318-DA45-C005-C3F2E5480748}"/>
              </a:ext>
            </a:extLst>
          </p:cNvPr>
          <p:cNvSpPr>
            <a:spLocks noGrp="1"/>
          </p:cNvSpPr>
          <p:nvPr>
            <p:ph type="body" sz="quarter" idx="14" hasCustomPrompt="1"/>
          </p:nvPr>
        </p:nvSpPr>
        <p:spPr>
          <a:xfrm>
            <a:off x="6136944" y="2314727"/>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4" name="Text Placeholder 4">
            <a:extLst>
              <a:ext uri="{FF2B5EF4-FFF2-40B4-BE49-F238E27FC236}">
                <a16:creationId xmlns:a16="http://schemas.microsoft.com/office/drawing/2014/main" id="{D64AB251-63CE-FE91-1F9D-D1313EBF9A57}"/>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51" name="Straight Connector 150">
            <a:extLst>
              <a:ext uri="{FF2B5EF4-FFF2-40B4-BE49-F238E27FC236}">
                <a16:creationId xmlns:a16="http://schemas.microsoft.com/office/drawing/2014/main" id="{8FEF65AA-B23A-1F25-6DC4-95CA521F6630}"/>
              </a:ext>
            </a:extLst>
          </p:cNvPr>
          <p:cNvCxnSpPr>
            <a:cxnSpLocks/>
          </p:cNvCxnSpPr>
          <p:nvPr userDrawn="1"/>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2EB12E3-176F-4AAE-30C1-368EC28C1753}"/>
              </a:ext>
            </a:extLst>
          </p:cNvPr>
          <p:cNvCxnSpPr>
            <a:cxnSpLocks/>
          </p:cNvCxnSpPr>
          <p:nvPr userDrawn="1"/>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Text Placeholder 4">
            <a:extLst>
              <a:ext uri="{FF2B5EF4-FFF2-40B4-BE49-F238E27FC236}">
                <a16:creationId xmlns:a16="http://schemas.microsoft.com/office/drawing/2014/main" id="{5FA6B0CC-212A-899A-66B7-183BB8471CA6}"/>
              </a:ext>
            </a:extLst>
          </p:cNvPr>
          <p:cNvSpPr>
            <a:spLocks noGrp="1"/>
          </p:cNvSpPr>
          <p:nvPr>
            <p:ph type="body" sz="quarter" idx="18" hasCustomPrompt="1"/>
          </p:nvPr>
        </p:nvSpPr>
        <p:spPr>
          <a:xfrm>
            <a:off x="6136944" y="38099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84" name="Text Placeholder 4">
            <a:extLst>
              <a:ext uri="{FF2B5EF4-FFF2-40B4-BE49-F238E27FC236}">
                <a16:creationId xmlns:a16="http://schemas.microsoft.com/office/drawing/2014/main" id="{67D787A3-5018-A0B1-85CE-051E35380197}"/>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89" name="Straight Connector 188">
            <a:extLst>
              <a:ext uri="{FF2B5EF4-FFF2-40B4-BE49-F238E27FC236}">
                <a16:creationId xmlns:a16="http://schemas.microsoft.com/office/drawing/2014/main" id="{C79F9354-D44E-CF09-5164-54530F64B749}"/>
              </a:ext>
            </a:extLst>
          </p:cNvPr>
          <p:cNvCxnSpPr>
            <a:cxnSpLocks/>
          </p:cNvCxnSpPr>
          <p:nvPr userDrawn="1"/>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7C47FB62-C820-454D-25B1-A192805D0274}"/>
              </a:ext>
            </a:extLst>
          </p:cNvPr>
          <p:cNvCxnSpPr>
            <a:cxnSpLocks/>
          </p:cNvCxnSpPr>
          <p:nvPr userDrawn="1"/>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4" name="Text Placeholder 4">
            <a:extLst>
              <a:ext uri="{FF2B5EF4-FFF2-40B4-BE49-F238E27FC236}">
                <a16:creationId xmlns:a16="http://schemas.microsoft.com/office/drawing/2014/main" id="{BB47AD9E-64D3-26C3-25B4-57EB29ED819F}"/>
              </a:ext>
            </a:extLst>
          </p:cNvPr>
          <p:cNvSpPr>
            <a:spLocks noGrp="1"/>
          </p:cNvSpPr>
          <p:nvPr>
            <p:ph type="body" sz="quarter" idx="20" hasCustomPrompt="1"/>
          </p:nvPr>
        </p:nvSpPr>
        <p:spPr>
          <a:xfrm>
            <a:off x="6136944" y="52577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08" name="Text Placeholder 4">
            <a:extLst>
              <a:ext uri="{FF2B5EF4-FFF2-40B4-BE49-F238E27FC236}">
                <a16:creationId xmlns:a16="http://schemas.microsoft.com/office/drawing/2014/main" id="{7F6D284F-84DA-43E1-B76B-8AC342237B6E}"/>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211" name="Straight Connector 210">
            <a:extLst>
              <a:ext uri="{FF2B5EF4-FFF2-40B4-BE49-F238E27FC236}">
                <a16:creationId xmlns:a16="http://schemas.microsoft.com/office/drawing/2014/main" id="{7A62F9B7-264B-0F0D-8A8B-6C0DA8028FA3}"/>
              </a:ext>
            </a:extLst>
          </p:cNvPr>
          <p:cNvCxnSpPr>
            <a:cxnSpLocks/>
          </p:cNvCxnSpPr>
          <p:nvPr userDrawn="1"/>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4" name="Footer Placeholder 4">
            <a:extLst>
              <a:ext uri="{FF2B5EF4-FFF2-40B4-BE49-F238E27FC236}">
                <a16:creationId xmlns:a16="http://schemas.microsoft.com/office/drawing/2014/main" id="{5A325753-36E2-9380-438C-C25FDC8855F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216" name="Slide Number Placeholder 5">
            <a:extLst>
              <a:ext uri="{FF2B5EF4-FFF2-40B4-BE49-F238E27FC236}">
                <a16:creationId xmlns:a16="http://schemas.microsoft.com/office/drawing/2014/main" id="{3908357C-7151-A37D-6AF5-17F5354AC35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503739841"/>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_Subtitle_Content_Larg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3615519" cy="189810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7A1D12C3-3B5B-044C-A548-FEDB9E5D4028}"/>
              </a:ext>
            </a:extLst>
          </p:cNvPr>
          <p:cNvSpPr>
            <a:spLocks noGrp="1"/>
          </p:cNvSpPr>
          <p:nvPr>
            <p:ph type="body" sz="quarter" idx="12" hasCustomPrompt="1"/>
          </p:nvPr>
        </p:nvSpPr>
        <p:spPr>
          <a:xfrm>
            <a:off x="584201" y="2833345"/>
            <a:ext cx="3606799"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grpSp>
        <p:nvGrpSpPr>
          <p:cNvPr id="4" name="Group 3">
            <a:extLst>
              <a:ext uri="{FF2B5EF4-FFF2-40B4-BE49-F238E27FC236}">
                <a16:creationId xmlns:a16="http://schemas.microsoft.com/office/drawing/2014/main" id="{35C22904-21AE-5C4D-3967-31B0B7317CDF}"/>
              </a:ext>
            </a:extLst>
          </p:cNvPr>
          <p:cNvGrpSpPr/>
          <p:nvPr userDrawn="1"/>
        </p:nvGrpSpPr>
        <p:grpSpPr>
          <a:xfrm>
            <a:off x="4305300" y="585968"/>
            <a:ext cx="7315200" cy="5687403"/>
            <a:chOff x="4392612" y="585968"/>
            <a:chExt cx="5475288" cy="5687403"/>
          </a:xfrm>
        </p:grpSpPr>
        <p:cxnSp>
          <p:nvCxnSpPr>
            <p:cNvPr id="5" name="Straight Connector 4">
              <a:extLst>
                <a:ext uri="{FF2B5EF4-FFF2-40B4-BE49-F238E27FC236}">
                  <a16:creationId xmlns:a16="http://schemas.microsoft.com/office/drawing/2014/main" id="{609A214F-1196-67FD-110E-097BE9964853}"/>
                </a:ext>
              </a:extLst>
            </p:cNvPr>
            <p:cNvCxnSpPr>
              <a:cxnSpLocks/>
            </p:cNvCxnSpPr>
            <p:nvPr/>
          </p:nvCxnSpPr>
          <p:spPr>
            <a:xfrm>
              <a:off x="4392612"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490DB22-AA8F-1D3A-925C-30F9ABD15359}"/>
                </a:ext>
              </a:extLst>
            </p:cNvPr>
            <p:cNvCxnSpPr>
              <a:cxnSpLocks/>
            </p:cNvCxnSpPr>
            <p:nvPr/>
          </p:nvCxnSpPr>
          <p:spPr>
            <a:xfrm>
              <a:off x="4392612"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6002EAC-C63B-84B8-8A43-BF14281E491F}"/>
                </a:ext>
              </a:extLst>
            </p:cNvPr>
            <p:cNvCxnSpPr>
              <a:cxnSpLocks/>
            </p:cNvCxnSpPr>
            <p:nvPr/>
          </p:nvCxnSpPr>
          <p:spPr>
            <a:xfrm>
              <a:off x="4392612"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DD2799F-D37D-58A2-012F-1DF4F9084428}"/>
                </a:ext>
              </a:extLst>
            </p:cNvPr>
            <p:cNvCxnSpPr>
              <a:cxnSpLocks/>
            </p:cNvCxnSpPr>
            <p:nvPr/>
          </p:nvCxnSpPr>
          <p:spPr>
            <a:xfrm>
              <a:off x="4392612"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FABE6E-2E56-DCD9-83CA-1D9E346DEEC1}"/>
                </a:ext>
              </a:extLst>
            </p:cNvPr>
            <p:cNvCxnSpPr>
              <a:cxnSpLocks/>
            </p:cNvCxnSpPr>
            <p:nvPr/>
          </p:nvCxnSpPr>
          <p:spPr>
            <a:xfrm>
              <a:off x="4392612"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3AF0AD3-8BA5-FD4C-28CC-DFCC8F26D667}"/>
                </a:ext>
              </a:extLst>
            </p:cNvPr>
            <p:cNvCxnSpPr>
              <a:cxnSpLocks/>
            </p:cNvCxnSpPr>
            <p:nvPr/>
          </p:nvCxnSpPr>
          <p:spPr>
            <a:xfrm>
              <a:off x="4392612"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6C4771A-09F5-A855-3B74-4DEF34EF055E}"/>
                </a:ext>
              </a:extLst>
            </p:cNvPr>
            <p:cNvCxnSpPr>
              <a:cxnSpLocks/>
            </p:cNvCxnSpPr>
            <p:nvPr/>
          </p:nvCxnSpPr>
          <p:spPr>
            <a:xfrm>
              <a:off x="4392612"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C02AFF-DD03-D985-36D2-36D32E0BA1B9}"/>
                </a:ext>
              </a:extLst>
            </p:cNvPr>
            <p:cNvCxnSpPr>
              <a:cxnSpLocks/>
            </p:cNvCxnSpPr>
            <p:nvPr/>
          </p:nvCxnSpPr>
          <p:spPr>
            <a:xfrm>
              <a:off x="4392612"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Text Placeholder 4">
            <a:extLst>
              <a:ext uri="{FF2B5EF4-FFF2-40B4-BE49-F238E27FC236}">
                <a16:creationId xmlns:a16="http://schemas.microsoft.com/office/drawing/2014/main" id="{21F6C640-4378-0726-F8A2-F87A4D79BC35}"/>
              </a:ext>
            </a:extLst>
          </p:cNvPr>
          <p:cNvSpPr>
            <a:spLocks noGrp="1"/>
          </p:cNvSpPr>
          <p:nvPr>
            <p:ph type="body" sz="quarter" idx="16" hasCustomPrompt="1"/>
          </p:nvPr>
        </p:nvSpPr>
        <p:spPr>
          <a:xfrm>
            <a:off x="4305300" y="8381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54" name="Text Placeholder 4">
            <a:extLst>
              <a:ext uri="{FF2B5EF4-FFF2-40B4-BE49-F238E27FC236}">
                <a16:creationId xmlns:a16="http://schemas.microsoft.com/office/drawing/2014/main" id="{662B76AA-F095-40CF-E96F-5971DCAD1428}"/>
              </a:ext>
            </a:extLst>
          </p:cNvPr>
          <p:cNvSpPr>
            <a:spLocks noGrp="1"/>
          </p:cNvSpPr>
          <p:nvPr>
            <p:ph type="body" sz="quarter" idx="15" hasCustomPrompt="1"/>
          </p:nvPr>
        </p:nvSpPr>
        <p:spPr>
          <a:xfrm>
            <a:off x="6134100" y="8382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0D01DADD-0AAD-DE71-AA8A-100FBA7813D2}"/>
              </a:ext>
            </a:extLst>
          </p:cNvPr>
          <p:cNvSpPr>
            <a:spLocks noGrp="1"/>
          </p:cNvSpPr>
          <p:nvPr>
            <p:ph type="body" sz="quarter" idx="14" hasCustomPrompt="1"/>
          </p:nvPr>
        </p:nvSpPr>
        <p:spPr>
          <a:xfrm>
            <a:off x="4305300" y="2314727"/>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9" name="Text Placeholder 4">
            <a:extLst>
              <a:ext uri="{FF2B5EF4-FFF2-40B4-BE49-F238E27FC236}">
                <a16:creationId xmlns:a16="http://schemas.microsoft.com/office/drawing/2014/main" id="{3ACD50A9-89D9-03EB-4F08-2FA62DEB7FFA}"/>
              </a:ext>
            </a:extLst>
          </p:cNvPr>
          <p:cNvSpPr>
            <a:spLocks noGrp="1"/>
          </p:cNvSpPr>
          <p:nvPr>
            <p:ph type="body" sz="quarter" idx="13" hasCustomPrompt="1"/>
          </p:nvPr>
        </p:nvSpPr>
        <p:spPr>
          <a:xfrm>
            <a:off x="6134100" y="2314728"/>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77" name="Text Placeholder 4">
            <a:extLst>
              <a:ext uri="{FF2B5EF4-FFF2-40B4-BE49-F238E27FC236}">
                <a16:creationId xmlns:a16="http://schemas.microsoft.com/office/drawing/2014/main" id="{24FA2B32-19B8-AB88-1583-D3384DBAF5B3}"/>
              </a:ext>
            </a:extLst>
          </p:cNvPr>
          <p:cNvSpPr>
            <a:spLocks noGrp="1"/>
          </p:cNvSpPr>
          <p:nvPr>
            <p:ph type="body" sz="quarter" idx="18" hasCustomPrompt="1"/>
          </p:nvPr>
        </p:nvSpPr>
        <p:spPr>
          <a:xfrm>
            <a:off x="4305300" y="38099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82" name="Text Placeholder 4">
            <a:extLst>
              <a:ext uri="{FF2B5EF4-FFF2-40B4-BE49-F238E27FC236}">
                <a16:creationId xmlns:a16="http://schemas.microsoft.com/office/drawing/2014/main" id="{8A991DCB-8C68-87C0-A0F0-E82FC669B8AA}"/>
              </a:ext>
            </a:extLst>
          </p:cNvPr>
          <p:cNvSpPr>
            <a:spLocks noGrp="1"/>
          </p:cNvSpPr>
          <p:nvPr>
            <p:ph type="body" sz="quarter" idx="17" hasCustomPrompt="1"/>
          </p:nvPr>
        </p:nvSpPr>
        <p:spPr>
          <a:xfrm>
            <a:off x="6134100" y="38100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88" name="Text Placeholder 4">
            <a:extLst>
              <a:ext uri="{FF2B5EF4-FFF2-40B4-BE49-F238E27FC236}">
                <a16:creationId xmlns:a16="http://schemas.microsoft.com/office/drawing/2014/main" id="{A692A088-7081-0839-D934-5901367D952C}"/>
              </a:ext>
            </a:extLst>
          </p:cNvPr>
          <p:cNvSpPr>
            <a:spLocks noGrp="1"/>
          </p:cNvSpPr>
          <p:nvPr>
            <p:ph type="body" sz="quarter" idx="20" hasCustomPrompt="1"/>
          </p:nvPr>
        </p:nvSpPr>
        <p:spPr>
          <a:xfrm>
            <a:off x="4305300" y="52577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91" name="Text Placeholder 4">
            <a:extLst>
              <a:ext uri="{FF2B5EF4-FFF2-40B4-BE49-F238E27FC236}">
                <a16:creationId xmlns:a16="http://schemas.microsoft.com/office/drawing/2014/main" id="{55B14BA1-7538-FD93-E26E-CA53960EFBA8}"/>
              </a:ext>
            </a:extLst>
          </p:cNvPr>
          <p:cNvSpPr>
            <a:spLocks noGrp="1"/>
          </p:cNvSpPr>
          <p:nvPr>
            <p:ph type="body" sz="quarter" idx="19" hasCustomPrompt="1"/>
          </p:nvPr>
        </p:nvSpPr>
        <p:spPr>
          <a:xfrm>
            <a:off x="6134100" y="52578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94" name="Footer Placeholder 4">
            <a:extLst>
              <a:ext uri="{FF2B5EF4-FFF2-40B4-BE49-F238E27FC236}">
                <a16:creationId xmlns:a16="http://schemas.microsoft.com/office/drawing/2014/main" id="{1E3306D1-7859-C33B-3188-08BFBF17793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96" name="Slide Number Placeholder 5">
            <a:extLst>
              <a:ext uri="{FF2B5EF4-FFF2-40B4-BE49-F238E27FC236}">
                <a16:creationId xmlns:a16="http://schemas.microsoft.com/office/drawing/2014/main" id="{29E9497E-26A1-F7E0-64C5-DF473866E40C}"/>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090150011"/>
      </p:ext>
    </p:extLst>
  </p:cSld>
  <p:clrMapOvr>
    <a:masterClrMapping/>
  </p:clrMapOvr>
  <p:transition>
    <p:fade/>
  </p:transition>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_Subtitle_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cxnSp>
        <p:nvCxnSpPr>
          <p:cNvPr id="35" name="Straight Connector 34">
            <a:extLst>
              <a:ext uri="{FF2B5EF4-FFF2-40B4-BE49-F238E27FC236}">
                <a16:creationId xmlns:a16="http://schemas.microsoft.com/office/drawing/2014/main" id="{F94D4FC7-7FFF-7A24-CB53-ECB1287B7135}"/>
              </a:ext>
            </a:extLst>
          </p:cNvPr>
          <p:cNvCxnSpPr>
            <a:cxnSpLocks/>
          </p:cNvCxnSpPr>
          <p:nvPr userDrawn="1"/>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Title 1">
            <a:extLst>
              <a:ext uri="{FF2B5EF4-FFF2-40B4-BE49-F238E27FC236}">
                <a16:creationId xmlns:a16="http://schemas.microsoft.com/office/drawing/2014/main" id="{0C550ADB-7AFA-56F1-AAE0-E6FA7BDCD75A}"/>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1</a:t>
            </a:r>
          </a:p>
        </p:txBody>
      </p:sp>
      <p:sp>
        <p:nvSpPr>
          <p:cNvPr id="83" name="Text Placeholder 4">
            <a:extLst>
              <a:ext uri="{FF2B5EF4-FFF2-40B4-BE49-F238E27FC236}">
                <a16:creationId xmlns:a16="http://schemas.microsoft.com/office/drawing/2014/main" id="{FBE276FD-8183-0E7B-BC1D-01ACCF64A488}"/>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91" name="Straight Connector 90">
            <a:extLst>
              <a:ext uri="{FF2B5EF4-FFF2-40B4-BE49-F238E27FC236}">
                <a16:creationId xmlns:a16="http://schemas.microsoft.com/office/drawing/2014/main" id="{D26580CE-CE7E-370E-F0E1-8A58FACFA639}"/>
              </a:ext>
            </a:extLst>
          </p:cNvPr>
          <p:cNvCxnSpPr>
            <a:cxnSpLocks/>
          </p:cNvCxnSpPr>
          <p:nvPr userDrawn="1"/>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CD55CBA-3E61-C2D3-B37F-5CD370543C52}"/>
              </a:ext>
            </a:extLst>
          </p:cNvPr>
          <p:cNvCxnSpPr>
            <a:cxnSpLocks/>
          </p:cNvCxnSpPr>
          <p:nvPr userDrawn="1"/>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8" name="Title 1">
            <a:extLst>
              <a:ext uri="{FF2B5EF4-FFF2-40B4-BE49-F238E27FC236}">
                <a16:creationId xmlns:a16="http://schemas.microsoft.com/office/drawing/2014/main" id="{CB6F68DD-AE13-F04A-01C5-5B3EE6A2A84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2</a:t>
            </a:r>
          </a:p>
        </p:txBody>
      </p:sp>
      <p:sp>
        <p:nvSpPr>
          <p:cNvPr id="138" name="Text Placeholder 4">
            <a:extLst>
              <a:ext uri="{FF2B5EF4-FFF2-40B4-BE49-F238E27FC236}">
                <a16:creationId xmlns:a16="http://schemas.microsoft.com/office/drawing/2014/main" id="{34C7E99F-283B-C1B3-B418-2870D42EE8AD}"/>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45" name="Straight Connector 144">
            <a:extLst>
              <a:ext uri="{FF2B5EF4-FFF2-40B4-BE49-F238E27FC236}">
                <a16:creationId xmlns:a16="http://schemas.microsoft.com/office/drawing/2014/main" id="{B30E6EFA-AFF5-6A05-9332-1686D4478D3C}"/>
              </a:ext>
            </a:extLst>
          </p:cNvPr>
          <p:cNvCxnSpPr>
            <a:cxnSpLocks/>
          </p:cNvCxnSpPr>
          <p:nvPr userDrawn="1"/>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EB9D0369-8EF5-F972-80A0-912EE4409097}"/>
              </a:ext>
            </a:extLst>
          </p:cNvPr>
          <p:cNvCxnSpPr>
            <a:cxnSpLocks/>
          </p:cNvCxnSpPr>
          <p:nvPr userDrawn="1"/>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1" name="Title 1">
            <a:extLst>
              <a:ext uri="{FF2B5EF4-FFF2-40B4-BE49-F238E27FC236}">
                <a16:creationId xmlns:a16="http://schemas.microsoft.com/office/drawing/2014/main" id="{78F34F5E-A424-CD5F-A2E5-35845BC0CF32}"/>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3</a:t>
            </a:r>
          </a:p>
        </p:txBody>
      </p:sp>
      <p:sp>
        <p:nvSpPr>
          <p:cNvPr id="178" name="Text Placeholder 4">
            <a:extLst>
              <a:ext uri="{FF2B5EF4-FFF2-40B4-BE49-F238E27FC236}">
                <a16:creationId xmlns:a16="http://schemas.microsoft.com/office/drawing/2014/main" id="{8938E995-D52E-9A82-0F99-6E54C538224B}"/>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83" name="Straight Connector 182">
            <a:extLst>
              <a:ext uri="{FF2B5EF4-FFF2-40B4-BE49-F238E27FC236}">
                <a16:creationId xmlns:a16="http://schemas.microsoft.com/office/drawing/2014/main" id="{DAE87FD8-3CE0-1641-F1FE-29F25EC7DE00}"/>
              </a:ext>
            </a:extLst>
          </p:cNvPr>
          <p:cNvCxnSpPr>
            <a:cxnSpLocks/>
          </p:cNvCxnSpPr>
          <p:nvPr userDrawn="1"/>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E2FCCE33-0DDB-6CC6-D0E4-676BE64EF09D}"/>
              </a:ext>
            </a:extLst>
          </p:cNvPr>
          <p:cNvCxnSpPr>
            <a:cxnSpLocks/>
          </p:cNvCxnSpPr>
          <p:nvPr userDrawn="1"/>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8" name="Title 1">
            <a:extLst>
              <a:ext uri="{FF2B5EF4-FFF2-40B4-BE49-F238E27FC236}">
                <a16:creationId xmlns:a16="http://schemas.microsoft.com/office/drawing/2014/main" id="{C6353F92-79B7-7A39-2764-153A58C55A61}"/>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4</a:t>
            </a:r>
          </a:p>
        </p:txBody>
      </p:sp>
      <p:sp>
        <p:nvSpPr>
          <p:cNvPr id="202" name="Text Placeholder 4">
            <a:extLst>
              <a:ext uri="{FF2B5EF4-FFF2-40B4-BE49-F238E27FC236}">
                <a16:creationId xmlns:a16="http://schemas.microsoft.com/office/drawing/2014/main" id="{3492BE8C-D1A6-73DD-6A4F-DB8FA2367A09}"/>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205" name="Straight Connector 204">
            <a:extLst>
              <a:ext uri="{FF2B5EF4-FFF2-40B4-BE49-F238E27FC236}">
                <a16:creationId xmlns:a16="http://schemas.microsoft.com/office/drawing/2014/main" id="{C82617BC-C020-D8C6-E364-FAA04E7E6E7A}"/>
              </a:ext>
            </a:extLst>
          </p:cNvPr>
          <p:cNvCxnSpPr>
            <a:cxnSpLocks/>
          </p:cNvCxnSpPr>
          <p:nvPr userDrawn="1"/>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Footer Placeholder 4">
            <a:extLst>
              <a:ext uri="{FF2B5EF4-FFF2-40B4-BE49-F238E27FC236}">
                <a16:creationId xmlns:a16="http://schemas.microsoft.com/office/drawing/2014/main" id="{71416629-5755-65CC-24C0-4E322532C49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210" name="Slide Number Placeholder 5">
            <a:extLst>
              <a:ext uri="{FF2B5EF4-FFF2-40B4-BE49-F238E27FC236}">
                <a16:creationId xmlns:a16="http://schemas.microsoft.com/office/drawing/2014/main" id="{B58058F9-A085-D8D3-0D24-299F2FD06C7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223615436"/>
      </p:ext>
    </p:extLst>
  </p:cSld>
  <p:clrMapOvr>
    <a:masterClrMapping/>
  </p:clrMapOvr>
  <p:transition>
    <p:fade/>
  </p:transition>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_Subtitle_Content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cxnSp>
        <p:nvCxnSpPr>
          <p:cNvPr id="5" name="Straight Connector 4">
            <a:extLst>
              <a:ext uri="{FF2B5EF4-FFF2-40B4-BE49-F238E27FC236}">
                <a16:creationId xmlns:a16="http://schemas.microsoft.com/office/drawing/2014/main" id="{5B0A9C22-E002-6EC8-7D19-7C31BD4141DB}"/>
              </a:ext>
            </a:extLst>
          </p:cNvPr>
          <p:cNvCxnSpPr>
            <a:cxnSpLocks/>
          </p:cNvCxnSpPr>
          <p:nvPr userDrawn="1"/>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9D1C0DF-29F7-4518-06AF-30645A988E42}"/>
              </a:ext>
            </a:extLst>
          </p:cNvPr>
          <p:cNvSpPr>
            <a:spLocks/>
          </p:cNvSpPr>
          <p:nvPr userDrawn="1"/>
        </p:nvSpPr>
        <p:spPr bwMode="auto">
          <a:xfrm>
            <a:off x="4583114" y="595313"/>
            <a:ext cx="1704220" cy="27622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Text Placeholder 4">
            <a:extLst>
              <a:ext uri="{FF2B5EF4-FFF2-40B4-BE49-F238E27FC236}">
                <a16:creationId xmlns:a16="http://schemas.microsoft.com/office/drawing/2014/main" id="{C444764F-6999-FDAD-5E62-C99DF1FB030C}"/>
              </a:ext>
            </a:extLst>
          </p:cNvPr>
          <p:cNvSpPr>
            <a:spLocks noGrp="1"/>
          </p:cNvSpPr>
          <p:nvPr>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43" name="Text Placeholder 4">
            <a:extLst>
              <a:ext uri="{FF2B5EF4-FFF2-40B4-BE49-F238E27FC236}">
                <a16:creationId xmlns:a16="http://schemas.microsoft.com/office/drawing/2014/main" id="{B6D511DD-A468-CE70-00B5-4514242806C8}"/>
              </a:ext>
            </a:extLst>
          </p:cNvPr>
          <p:cNvSpPr>
            <a:spLocks noGrp="1"/>
          </p:cNvSpPr>
          <p:nvPr>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48" name="Straight Connector 47">
            <a:extLst>
              <a:ext uri="{FF2B5EF4-FFF2-40B4-BE49-F238E27FC236}">
                <a16:creationId xmlns:a16="http://schemas.microsoft.com/office/drawing/2014/main" id="{FE5FD440-D972-B95A-B042-B3A4CDD4A113}"/>
              </a:ext>
            </a:extLst>
          </p:cNvPr>
          <p:cNvCxnSpPr>
            <a:cxnSpLocks/>
          </p:cNvCxnSpPr>
          <p:nvPr userDrawn="1"/>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51EFC88-D471-3077-DC20-443500EABA7C}"/>
              </a:ext>
            </a:extLst>
          </p:cNvPr>
          <p:cNvCxnSpPr>
            <a:cxnSpLocks/>
          </p:cNvCxnSpPr>
          <p:nvPr userDrawn="1"/>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59F30358-EB03-58A6-1E4E-A919CB776406}"/>
              </a:ext>
            </a:extLst>
          </p:cNvPr>
          <p:cNvSpPr>
            <a:spLocks/>
          </p:cNvSpPr>
          <p:nvPr userDrawn="1"/>
        </p:nvSpPr>
        <p:spPr bwMode="auto">
          <a:xfrm>
            <a:off x="4583114" y="3487126"/>
            <a:ext cx="1704220" cy="27622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5" name="Text Placeholder 4">
            <a:extLst>
              <a:ext uri="{FF2B5EF4-FFF2-40B4-BE49-F238E27FC236}">
                <a16:creationId xmlns:a16="http://schemas.microsoft.com/office/drawing/2014/main" id="{5C5AF6A0-8EDB-63FD-D10B-8BD575204B68}"/>
              </a:ext>
            </a:extLst>
          </p:cNvPr>
          <p:cNvSpPr>
            <a:spLocks noGrp="1"/>
          </p:cNvSpPr>
          <p:nvPr>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78" name="Text Placeholder 4">
            <a:extLst>
              <a:ext uri="{FF2B5EF4-FFF2-40B4-BE49-F238E27FC236}">
                <a16:creationId xmlns:a16="http://schemas.microsoft.com/office/drawing/2014/main" id="{3BE281E0-0CFD-B0A1-FCB2-291CD15DF982}"/>
              </a:ext>
            </a:extLst>
          </p:cNvPr>
          <p:cNvSpPr>
            <a:spLocks noGrp="1"/>
          </p:cNvSpPr>
          <p:nvPr>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80" name="Straight Connector 79">
            <a:extLst>
              <a:ext uri="{FF2B5EF4-FFF2-40B4-BE49-F238E27FC236}">
                <a16:creationId xmlns:a16="http://schemas.microsoft.com/office/drawing/2014/main" id="{E4D5C9CC-E3B7-5011-051B-6B7A0097DC70}"/>
              </a:ext>
            </a:extLst>
          </p:cNvPr>
          <p:cNvCxnSpPr>
            <a:cxnSpLocks/>
          </p:cNvCxnSpPr>
          <p:nvPr userDrawn="1"/>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Footer Placeholder 4">
            <a:extLst>
              <a:ext uri="{FF2B5EF4-FFF2-40B4-BE49-F238E27FC236}">
                <a16:creationId xmlns:a16="http://schemas.microsoft.com/office/drawing/2014/main" id="{67E7B915-AB33-0CD5-75A7-B92FFF35AF7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85" name="Slide Number Placeholder 5">
            <a:extLst>
              <a:ext uri="{FF2B5EF4-FFF2-40B4-BE49-F238E27FC236}">
                <a16:creationId xmlns:a16="http://schemas.microsoft.com/office/drawing/2014/main" id="{FCE50FE5-3344-C0D3-F625-7CEDDEE0F42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823527036"/>
      </p:ext>
    </p:extLst>
  </p:cSld>
  <p:clrMapOvr>
    <a:masterClrMapping/>
  </p:clrMapOvr>
  <p:transition>
    <p:fade/>
  </p:transition>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_Subtitle_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5444319" cy="142043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49" name="Group 48">
            <a:extLst>
              <a:ext uri="{FF2B5EF4-FFF2-40B4-BE49-F238E27FC236}">
                <a16:creationId xmlns:a16="http://schemas.microsoft.com/office/drawing/2014/main" id="{31FA41F1-2028-C841-A0E6-E62A36CD04B0}"/>
              </a:ext>
            </a:extLst>
          </p:cNvPr>
          <p:cNvGrpSpPr/>
          <p:nvPr userDrawn="1"/>
        </p:nvGrpSpPr>
        <p:grpSpPr>
          <a:xfrm>
            <a:off x="6134100" y="585968"/>
            <a:ext cx="5475288" cy="2780871"/>
            <a:chOff x="6134100" y="585968"/>
            <a:chExt cx="5475288" cy="2780871"/>
          </a:xfrm>
        </p:grpSpPr>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6134100" y="33668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158990C4-7AAA-874F-9992-5C649C6BAE73}"/>
              </a:ext>
            </a:extLst>
          </p:cNvPr>
          <p:cNvGrpSpPr/>
          <p:nvPr userDrawn="1"/>
        </p:nvGrpSpPr>
        <p:grpSpPr>
          <a:xfrm>
            <a:off x="6134100" y="3505200"/>
            <a:ext cx="5475288" cy="2753575"/>
            <a:chOff x="6134100" y="585968"/>
            <a:chExt cx="5475288" cy="2753575"/>
          </a:xfrm>
        </p:grpSpPr>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6134100" y="333954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4BD19EB2-7D8F-AC41-A8B6-1914246DD12A}"/>
              </a:ext>
            </a:extLst>
          </p:cNvPr>
          <p:cNvSpPr>
            <a:spLocks noGrp="1"/>
          </p:cNvSpPr>
          <p:nvPr>
            <p:ph type="body" sz="quarter" idx="15" hasCustomPrompt="1"/>
          </p:nvPr>
        </p:nvSpPr>
        <p:spPr>
          <a:xfrm>
            <a:off x="7507786" y="838200"/>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p:ph type="body" sz="quarter" idx="16" hasCustomPrompt="1"/>
          </p:nvPr>
        </p:nvSpPr>
        <p:spPr>
          <a:xfrm>
            <a:off x="6134100" y="838199"/>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p:ph type="body" sz="quarter" idx="17" hasCustomPrompt="1"/>
          </p:nvPr>
        </p:nvSpPr>
        <p:spPr>
          <a:xfrm>
            <a:off x="7507786" y="3761096"/>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p:ph type="body" sz="quarter" idx="18" hasCustomPrompt="1"/>
          </p:nvPr>
        </p:nvSpPr>
        <p:spPr>
          <a:xfrm>
            <a:off x="6134100" y="3761095"/>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 name="Text Placeholder 4">
            <a:extLst>
              <a:ext uri="{FF2B5EF4-FFF2-40B4-BE49-F238E27FC236}">
                <a16:creationId xmlns:a16="http://schemas.microsoft.com/office/drawing/2014/main" id="{E75517DE-522B-D247-93F8-0782A7006717}"/>
              </a:ext>
            </a:extLst>
          </p:cNvPr>
          <p:cNvSpPr>
            <a:spLocks noGrp="1"/>
          </p:cNvSpPr>
          <p:nvPr>
            <p:ph type="body" sz="quarter" idx="19"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15" name="Footer Placeholder 4">
            <a:extLst>
              <a:ext uri="{FF2B5EF4-FFF2-40B4-BE49-F238E27FC236}">
                <a16:creationId xmlns:a16="http://schemas.microsoft.com/office/drawing/2014/main" id="{8BE6EBE7-CA02-4C26-BD72-12949608A4E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16" name="Slide Number Placeholder 5">
            <a:extLst>
              <a:ext uri="{FF2B5EF4-FFF2-40B4-BE49-F238E27FC236}">
                <a16:creationId xmlns:a16="http://schemas.microsoft.com/office/drawing/2014/main" id="{C404F89B-F6FA-4D38-B9FD-D86E2290BC0B}"/>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4008251225"/>
      </p:ext>
    </p:extLst>
  </p:cSld>
  <p:clrMapOvr>
    <a:masterClrMapping/>
  </p:clrMapOvr>
  <p:transition>
    <p:fade/>
  </p:transition>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953178027"/>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525674843"/>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Du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1803131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515007384"/>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387532150"/>
      </p:ext>
    </p:extLst>
  </p:cSld>
  <p:clrMapOvr>
    <a:masterClrMapping/>
  </p:clrMapOvr>
  <p:transition>
    <p:fade/>
  </p:transition>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795748553"/>
      </p:ext>
    </p:extLst>
  </p:cSld>
  <p:clrMapOvr>
    <a:masterClrMapping/>
  </p:clrMapOvr>
  <p:transition>
    <p:fade/>
  </p:transition>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959277214"/>
      </p:ext>
    </p:extLst>
  </p:cSld>
  <p:clrMapOvr>
    <a:masterClrMapping/>
  </p:clrMapOvr>
  <p:transition>
    <p:fade/>
  </p:transition>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160714919"/>
      </p:ext>
    </p:extLst>
  </p:cSld>
  <p:clrMapOvr>
    <a:masterClrMapping/>
  </p:clrMapOvr>
  <p:transition>
    <p:fade/>
  </p:transition>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4097434672"/>
      </p:ext>
    </p:extLst>
  </p:cSld>
  <p:clrMapOvr>
    <a:masterClrMapping/>
  </p:clrMapOvr>
  <p:transition>
    <p:fade/>
  </p:transition>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53366309"/>
      </p:ext>
    </p:extLst>
  </p:cSld>
  <p:clrMapOvr>
    <a:masterClrMapping/>
  </p:clrMapOvr>
  <p:transition>
    <p:fade/>
  </p:transition>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571304055"/>
      </p:ext>
    </p:extLst>
  </p:cSld>
  <p:clrMapOvr>
    <a:masterClrMapping/>
  </p:clrMapOvr>
  <p:transition>
    <p:fade/>
  </p:transition>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182958018"/>
      </p:ext>
    </p:extLst>
  </p:cSld>
  <p:clrMapOvr>
    <a:masterClrMapping/>
  </p:clrMapOvr>
  <p:transition>
    <p:fade/>
  </p:transition>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39618205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Duo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253732834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Jun</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Dec</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384075650"/>
      </p:ext>
    </p:extLst>
  </p:cSld>
  <p:clrMapOvr>
    <a:masterClrMapping/>
  </p:clrMapOvr>
  <p:transition>
    <p:fade/>
  </p:transition>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6</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12</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2594045444"/>
      </p:ext>
    </p:extLst>
  </p:cSld>
  <p:clrMapOvr>
    <a:masterClrMapping/>
  </p:clrMapOvr>
  <p:transition>
    <p:fade/>
  </p:transition>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788594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matchingName="Subsection Cover B" preserve="1">
  <p:cSld name="Subsection Cover B">
    <p:spTree>
      <p:nvGrpSpPr>
        <p:cNvPr id="1" name="Shape 53"/>
        <p:cNvGrpSpPr/>
        <p:nvPr/>
      </p:nvGrpSpPr>
      <p:grpSpPr>
        <a:xfrm>
          <a:off x="0" y="0"/>
          <a:ext cx="0" cy="0"/>
          <a:chOff x="0" y="0"/>
          <a:chExt cx="0" cy="0"/>
        </a:xfrm>
      </p:grpSpPr>
      <p:grpSp>
        <p:nvGrpSpPr>
          <p:cNvPr id="2" name="Group 1">
            <a:extLst>
              <a:ext uri="{FF2B5EF4-FFF2-40B4-BE49-F238E27FC236}">
                <a16:creationId xmlns:a16="http://schemas.microsoft.com/office/drawing/2014/main" id="{7CBEC37C-5597-990A-B578-E33332642CD8}"/>
              </a:ext>
              <a:ext uri="{C183D7F6-B498-43B3-948B-1728B52AA6E4}">
                <adec:decorative xmlns:adec="http://schemas.microsoft.com/office/drawing/2017/decorative" val="1"/>
              </a:ext>
            </a:extLst>
          </p:cNvPr>
          <p:cNvGrpSpPr/>
          <p:nvPr userDrawn="1"/>
        </p:nvGrpSpPr>
        <p:grpSpPr>
          <a:xfrm>
            <a:off x="0" y="1"/>
            <a:ext cx="12192000" cy="6858000"/>
            <a:chOff x="0" y="1"/>
            <a:chExt cx="9144000" cy="5143500"/>
          </a:xfrm>
        </p:grpSpPr>
        <p:sp>
          <p:nvSpPr>
            <p:cNvPr id="54" name="Google Shape;54;p14">
              <a:extLst>
                <a:ext uri="{C183D7F6-B498-43B3-948B-1728B52AA6E4}">
                  <adec:decorative xmlns:adec="http://schemas.microsoft.com/office/drawing/2017/decorative" val="1"/>
                </a:ext>
              </a:extLst>
            </p:cNvPr>
            <p:cNvSpPr/>
            <p:nvPr/>
          </p:nvSpPr>
          <p:spPr>
            <a:xfrm>
              <a:off x="0" y="1"/>
              <a:ext cx="9144000" cy="51435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cxnSp>
          <p:nvCxnSpPr>
            <p:cNvPr id="55" name="Google Shape;55;p14">
              <a:extLs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63" name="Google Shape;63;p14"/>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grpSp>
        <p:nvGrpSpPr>
          <p:cNvPr id="3" name="Group 2">
            <a:extLst>
              <a:ext uri="{FF2B5EF4-FFF2-40B4-BE49-F238E27FC236}">
                <a16:creationId xmlns:a16="http://schemas.microsoft.com/office/drawing/2014/main" id="{EA469B42-A5A6-8FDC-E184-39B0840E8125}"/>
              </a:ext>
              <a:ext uri="{C183D7F6-B498-43B3-948B-1728B52AA6E4}">
                <adec:decorative xmlns:adec="http://schemas.microsoft.com/office/drawing/2017/decorative" val="1"/>
              </a:ext>
            </a:extLst>
          </p:cNvPr>
          <p:cNvGrpSpPr/>
          <p:nvPr userDrawn="1"/>
        </p:nvGrpSpPr>
        <p:grpSpPr>
          <a:xfrm>
            <a:off x="-4218440" y="333"/>
            <a:ext cx="5647907" cy="5936912"/>
            <a:chOff x="-3163830" y="250"/>
            <a:chExt cx="4235930" cy="4452684"/>
          </a:xfrm>
        </p:grpSpPr>
        <p:pic>
          <p:nvPicPr>
            <p:cNvPr id="60" name="Google Shape;60;p14">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63830" y="690565"/>
              <a:ext cx="3762369" cy="3762369"/>
            </a:xfrm>
            <a:prstGeom prst="rect">
              <a:avLst/>
            </a:prstGeom>
            <a:noFill/>
            <a:ln>
              <a:noFill/>
            </a:ln>
          </p:spPr>
        </p:pic>
        <p:sp>
          <p:nvSpPr>
            <p:cNvPr id="62" name="Google Shape;62;p14">
              <a:extLst>
                <a:ext uri="{C183D7F6-B498-43B3-948B-1728B52AA6E4}">
                  <adec:decorative xmlns:adec="http://schemas.microsoft.com/office/drawing/2017/decorative" val="1"/>
                </a:ext>
              </a:extLst>
            </p:cNvPr>
            <p:cNvSpPr/>
            <p:nvPr/>
          </p:nvSpPr>
          <p:spPr>
            <a:xfrm rot="10800000">
              <a:off x="998900" y="250"/>
              <a:ext cx="73200" cy="3401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64" name="Google Shape;64;p14"/>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cxnSp>
        <p:nvCxnSpPr>
          <p:cNvPr id="59" name="Google Shape;59;p14">
            <a:extLst>
              <a:ext uri="{C183D7F6-B498-43B3-948B-1728B52AA6E4}">
                <adec:decorative xmlns:adec="http://schemas.microsoft.com/office/drawing/2017/decorative" val="1"/>
              </a:ext>
            </a:extLst>
          </p:cNvPr>
          <p:cNvCxnSpPr/>
          <p:nvPr/>
        </p:nvCxnSpPr>
        <p:spPr>
          <a:xfrm>
            <a:off x="1685761"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1" name="Google Shape;61;p14">
            <a:extLst>
              <a:ext uri="{C183D7F6-B498-43B3-948B-1728B52AA6E4}">
                <adec:decorative xmlns:adec="http://schemas.microsoft.com/office/drawing/2017/decorative" val="1"/>
              </a:ext>
            </a:extLst>
          </p:cNvPr>
          <p:cNvPicPr preferRelativeResize="0"/>
          <p:nvPr/>
        </p:nvPicPr>
        <p:blipFill rotWithShape="1">
          <a:blip r:embed="rId3">
            <a:alphaModFix/>
          </a:blip>
          <a:srcRect r="891"/>
          <a:stretch/>
        </p:blipFill>
        <p:spPr>
          <a:xfrm>
            <a:off x="5154968" y="0"/>
            <a:ext cx="7037033" cy="6857998"/>
          </a:xfrm>
          <a:prstGeom prst="rect">
            <a:avLst/>
          </a:prstGeom>
          <a:noFill/>
          <a:ln>
            <a:noFill/>
          </a:ln>
        </p:spPr>
      </p:pic>
      <p:sp>
        <p:nvSpPr>
          <p:cNvPr id="58" name="Google Shape;58;p14">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r>
              <a:rPr lang="en" sz="666" b="0" i="0">
                <a:solidFill>
                  <a:schemeClr val="lt1"/>
                </a:solidFill>
                <a:latin typeface="Helvetica" pitchFamily="2" charset="0"/>
                <a:ea typeface="Helvetica Neue"/>
                <a:cs typeface="Helvetica Neue"/>
                <a:sym typeface="Helvetica Neue"/>
              </a:rPr>
              <a:t>1</a:t>
            </a:r>
            <a:endParaRPr sz="932" b="0" i="0">
              <a:latin typeface="Helvetica" pitchFamily="2" charset="0"/>
            </a:endParaRPr>
          </a:p>
        </p:txBody>
      </p:sp>
      <p:sp>
        <p:nvSpPr>
          <p:cNvPr id="57" name="Google Shape;57;p14">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u="none" strike="noStrike" cap="none">
              <a:solidFill>
                <a:schemeClr val="lt1"/>
              </a:solidFill>
              <a:latin typeface="Helvetica" pitchFamily="2" charset="0"/>
              <a:ea typeface="Helvetica Neue"/>
              <a:cs typeface="Helvetica Neue"/>
              <a:sym typeface="Helvetica Neue"/>
            </a:endParaRPr>
          </a:p>
        </p:txBody>
      </p:sp>
      <p:sp>
        <p:nvSpPr>
          <p:cNvPr id="5" name="Google Shape;56;p14">
            <a:extLst>
              <a:ext uri="{FF2B5EF4-FFF2-40B4-BE49-F238E27FC236}">
                <a16:creationId xmlns:a16="http://schemas.microsoft.com/office/drawing/2014/main" id="{A8775429-4A95-1B6A-456F-7ED0803EB78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32974925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matchingName="Cover" preserve="1">
  <p:cSld name="Cover">
    <p:spTree>
      <p:nvGrpSpPr>
        <p:cNvPr id="1" name="Shape 65"/>
        <p:cNvGrpSpPr/>
        <p:nvPr/>
      </p:nvGrpSpPr>
      <p:grpSpPr>
        <a:xfrm>
          <a:off x="0" y="0"/>
          <a:ext cx="0" cy="0"/>
          <a:chOff x="0" y="0"/>
          <a:chExt cx="0" cy="0"/>
        </a:xfrm>
      </p:grpSpPr>
      <p:grpSp>
        <p:nvGrpSpPr>
          <p:cNvPr id="2" name="Group 1">
            <a:extLst>
              <a:ext uri="{FF2B5EF4-FFF2-40B4-BE49-F238E27FC236}">
                <a16:creationId xmlns:a16="http://schemas.microsoft.com/office/drawing/2014/main" id="{CC4674C0-B9AA-75F4-145F-B5098D240B3B}"/>
              </a:ext>
              <a:ext uri="{C183D7F6-B498-43B3-948B-1728B52AA6E4}">
                <adec:decorative xmlns:adec="http://schemas.microsoft.com/office/drawing/2017/decorative" val="1"/>
              </a:ext>
            </a:extLst>
          </p:cNvPr>
          <p:cNvGrpSpPr/>
          <p:nvPr userDrawn="1"/>
        </p:nvGrpSpPr>
        <p:grpSpPr>
          <a:xfrm>
            <a:off x="0" y="1"/>
            <a:ext cx="12192000" cy="6858000"/>
            <a:chOff x="0" y="1"/>
            <a:chExt cx="9144000" cy="5143500"/>
          </a:xfrm>
        </p:grpSpPr>
        <p:sp>
          <p:nvSpPr>
            <p:cNvPr id="66" name="Google Shape;66;p15">
              <a:extLst>
                <a:ext uri="{C183D7F6-B498-43B3-948B-1728B52AA6E4}">
                  <adec:decorative xmlns:adec="http://schemas.microsoft.com/office/drawing/2017/decorative" val="1"/>
                </a:ext>
              </a:extLst>
            </p:cNvPr>
            <p:cNvSpPr/>
            <p:nvPr/>
          </p:nvSpPr>
          <p:spPr>
            <a:xfrm>
              <a:off x="0" y="1"/>
              <a:ext cx="9144000" cy="51435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cxnSp>
          <p:nvCxnSpPr>
            <p:cNvPr id="67" name="Google Shape;67;p15">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74" name="Google Shape;74;p15"/>
          <p:cNvSpPr txBox="1">
            <a:spLocks noGrp="1"/>
          </p:cNvSpPr>
          <p:nvPr>
            <p:ph type="title"/>
          </p:nvPr>
        </p:nvSpPr>
        <p:spPr>
          <a:xfrm>
            <a:off x="816867" y="731533"/>
            <a:ext cx="5641200" cy="3144800"/>
          </a:xfrm>
          <a:prstGeom prst="rect">
            <a:avLst/>
          </a:prstGeom>
        </p:spPr>
        <p:txBody>
          <a:bodyPr spcFirstLastPara="1" wrap="square" lIns="45700" tIns="18275" rIns="45700" bIns="18275" anchor="t" anchorCtr="0">
            <a:noAutofit/>
          </a:bodyPr>
          <a:lstStyle>
            <a:lvl1pPr lvl="0" rtl="0">
              <a:lnSpc>
                <a:spcPct val="90000"/>
              </a:lnSpc>
              <a:spcBef>
                <a:spcPts val="0"/>
              </a:spcBef>
              <a:spcAft>
                <a:spcPts val="0"/>
              </a:spcAft>
              <a:buSzPts val="5400"/>
              <a:buNone/>
              <a:defRPr sz="7189"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3" name="Google Shape;73;p15">
            <a:extLst>
              <a:ext uri="{C183D7F6-B498-43B3-948B-1728B52AA6E4}">
                <adec:decorative xmlns:adec="http://schemas.microsoft.com/office/drawing/2017/decorative" val="1"/>
              </a:ext>
            </a:extLst>
          </p:cNvPr>
          <p:cNvSpPr/>
          <p:nvPr/>
        </p:nvSpPr>
        <p:spPr>
          <a:xfrm rot="10800000">
            <a:off x="541967" y="0"/>
            <a:ext cx="97600" cy="3533200"/>
          </a:xfrm>
          <a:prstGeom prst="rect">
            <a:avLst/>
          </a:prstGeom>
          <a:gradFill>
            <a:gsLst>
              <a:gs pos="0">
                <a:srgbClr val="D59DFF"/>
              </a:gs>
              <a:gs pos="100000">
                <a:srgbClr val="28AFEA"/>
              </a:gs>
            </a:gsLst>
            <a:lin ang="5400012" scaled="0"/>
          </a:gradFill>
          <a:ln>
            <a:noFill/>
          </a:ln>
        </p:spPr>
        <p:txBody>
          <a:bodyPr spcFirstLastPara="1" wrap="square" lIns="121711" tIns="121711" rIns="121711" bIns="121711" anchor="ctr" anchorCtr="0">
            <a:noAutofit/>
          </a:bodyPr>
          <a:lstStyle/>
          <a:p>
            <a:pPr marL="0" lvl="0" indent="0" algn="l" rtl="0">
              <a:spcBef>
                <a:spcPts val="0"/>
              </a:spcBef>
              <a:spcAft>
                <a:spcPts val="0"/>
              </a:spcAft>
              <a:buNone/>
            </a:pPr>
            <a:endParaRPr sz="2396" b="0" i="0">
              <a:latin typeface="Helvetica" pitchFamily="2" charset="0"/>
            </a:endParaRPr>
          </a:p>
        </p:txBody>
      </p:sp>
      <p:sp>
        <p:nvSpPr>
          <p:cNvPr id="75" name="Google Shape;75;p15"/>
          <p:cNvSpPr txBox="1">
            <a:spLocks noGrp="1"/>
          </p:cNvSpPr>
          <p:nvPr>
            <p:ph type="body" idx="1"/>
          </p:nvPr>
        </p:nvSpPr>
        <p:spPr>
          <a:xfrm>
            <a:off x="816867" y="4096500"/>
            <a:ext cx="5641200" cy="1634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a:p>
        </p:txBody>
      </p:sp>
      <p:pic>
        <p:nvPicPr>
          <p:cNvPr id="70" name="Google Shape;70;p15">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991596" y="852721"/>
            <a:ext cx="5016492" cy="5016492"/>
          </a:xfrm>
          <a:prstGeom prst="rect">
            <a:avLst/>
          </a:prstGeom>
          <a:noFill/>
          <a:ln>
            <a:noFill/>
          </a:ln>
        </p:spPr>
      </p:pic>
      <p:pic>
        <p:nvPicPr>
          <p:cNvPr id="72" name="Google Shape;72;p15">
            <a:extLst>
              <a:ext uri="{C183D7F6-B498-43B3-948B-1728B52AA6E4}">
                <adec:decorative xmlns:adec="http://schemas.microsoft.com/office/drawing/2017/decorative" val="1"/>
              </a:ext>
            </a:extLst>
          </p:cNvPr>
          <p:cNvPicPr preferRelativeResize="0"/>
          <p:nvPr/>
        </p:nvPicPr>
        <p:blipFill rotWithShape="1">
          <a:blip r:embed="rId3">
            <a:alphaModFix/>
          </a:blip>
          <a:srcRect l="12915" r="21622"/>
          <a:stretch/>
        </p:blipFill>
        <p:spPr>
          <a:xfrm>
            <a:off x="6672747" y="1"/>
            <a:ext cx="5519259" cy="6857994"/>
          </a:xfrm>
          <a:prstGeom prst="rect">
            <a:avLst/>
          </a:prstGeom>
          <a:noFill/>
          <a:ln>
            <a:noFill/>
          </a:ln>
        </p:spPr>
      </p:pic>
      <p:sp>
        <p:nvSpPr>
          <p:cNvPr id="71" name="Google Shape;71;p15">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r>
              <a:rPr lang="en" sz="666" b="0" i="0" u="none" strike="noStrike" cap="none">
                <a:solidFill>
                  <a:schemeClr val="lt1"/>
                </a:solidFill>
                <a:latin typeface="Helvetica" pitchFamily="2" charset="0"/>
                <a:ea typeface="Helvetica Neue"/>
                <a:cs typeface="Helvetica Neue"/>
                <a:sym typeface="Helvetica Neue"/>
              </a:rPr>
              <a:t>1</a:t>
            </a:r>
            <a:endParaRPr sz="932" b="0" i="0">
              <a:latin typeface="Helvetica" pitchFamily="2" charset="0"/>
            </a:endParaRPr>
          </a:p>
        </p:txBody>
      </p:sp>
      <p:sp>
        <p:nvSpPr>
          <p:cNvPr id="69" name="Google Shape;69;p15">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u="none" strike="noStrike" cap="none">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62E87D12-0747-BC87-56EA-574BBF331BC0}"/>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194870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Google Shape;66;p15">
            <a:extLst>
              <a:ext uri="{FF2B5EF4-FFF2-40B4-BE49-F238E27FC236}">
                <a16:creationId xmlns:a16="http://schemas.microsoft.com/office/drawing/2014/main" id="{212E7DCA-19FF-AD18-3920-326D5C955D12}"/>
              </a:ext>
              <a:ext uri="{C183D7F6-B498-43B3-948B-1728B52AA6E4}">
                <adec:decorative xmlns:adec="http://schemas.microsoft.com/office/drawing/2017/decorative" val="1"/>
              </a:ext>
            </a:extLst>
          </p:cNvPr>
          <p:cNvSpPr/>
          <p:nvPr userDrawn="1"/>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111" tIns="28556" rIns="57111" bIns="28556" anchor="ctr" anchorCtr="0">
            <a:noAutofit/>
          </a:bodyPr>
          <a:lstStyle/>
          <a:p>
            <a:pPr marL="0" marR="0" lvl="0" indent="0" algn="ctr" rtl="0">
              <a:spcBef>
                <a:spcPts val="0"/>
              </a:spcBef>
              <a:spcAft>
                <a:spcPts val="0"/>
              </a:spcAft>
              <a:buNone/>
            </a:pPr>
            <a:endParaRPr sz="1864" b="0" i="0" u="none" strike="noStrike" cap="none">
              <a:solidFill>
                <a:schemeClr val="lt1"/>
              </a:solidFill>
              <a:latin typeface="Helvetica" pitchFamily="2" charset="0"/>
              <a:ea typeface="Calibri"/>
              <a:cs typeface="Calibri"/>
              <a:sym typeface="Calibri"/>
            </a:endParaRPr>
          </a:p>
        </p:txBody>
      </p:sp>
      <p:pic>
        <p:nvPicPr>
          <p:cNvPr id="10" name="Google Shape;168;p20">
            <a:extLst>
              <a:ext uri="{FF2B5EF4-FFF2-40B4-BE49-F238E27FC236}">
                <a16:creationId xmlns:a16="http://schemas.microsoft.com/office/drawing/2014/main" id="{400BD828-4B55-0E98-CD77-6BD0E3E5D630}"/>
              </a:ext>
              <a:ext uri="{C183D7F6-B498-43B3-948B-1728B52AA6E4}">
                <adec:decorative xmlns:adec="http://schemas.microsoft.com/office/drawing/2017/decorative" val="1"/>
              </a:ext>
            </a:extLst>
          </p:cNvPr>
          <p:cNvPicPr preferRelativeResize="0"/>
          <p:nvPr userDrawn="1"/>
        </p:nvPicPr>
        <p:blipFill rotWithShape="1">
          <a:blip r:embed="rId2">
            <a:alphaModFix/>
          </a:blip>
          <a:srcRect t="15174" r="26360"/>
          <a:stretch/>
        </p:blipFill>
        <p:spPr>
          <a:xfrm flipH="1">
            <a:off x="-1" y="0"/>
            <a:ext cx="7010372" cy="6815896"/>
          </a:xfrm>
          <a:prstGeom prst="rect">
            <a:avLst/>
          </a:prstGeom>
          <a:noFill/>
          <a:ln>
            <a:noFill/>
          </a:ln>
        </p:spPr>
      </p:pic>
      <p:grpSp>
        <p:nvGrpSpPr>
          <p:cNvPr id="11" name="Group 10">
            <a:extLst>
              <a:ext uri="{FF2B5EF4-FFF2-40B4-BE49-F238E27FC236}">
                <a16:creationId xmlns:a16="http://schemas.microsoft.com/office/drawing/2014/main" id="{326582D8-90BE-B20F-C82F-42E55DABD5EF}"/>
              </a:ext>
              <a:ext uri="{C183D7F6-B498-43B3-948B-1728B52AA6E4}">
                <adec:decorative xmlns:adec="http://schemas.microsoft.com/office/drawing/2017/decorative" val="1"/>
              </a:ext>
            </a:extLst>
          </p:cNvPr>
          <p:cNvGrpSpPr/>
          <p:nvPr userDrawn="1"/>
        </p:nvGrpSpPr>
        <p:grpSpPr>
          <a:xfrm flipH="1" flipV="1">
            <a:off x="-32053" y="5007768"/>
            <a:ext cx="4751040" cy="1850232"/>
            <a:chOff x="6426339" y="0"/>
            <a:chExt cx="5765662" cy="2245364"/>
          </a:xfrm>
        </p:grpSpPr>
        <p:grpSp>
          <p:nvGrpSpPr>
            <p:cNvPr id="12" name="Group 11">
              <a:extLst>
                <a:ext uri="{FF2B5EF4-FFF2-40B4-BE49-F238E27FC236}">
                  <a16:creationId xmlns:a16="http://schemas.microsoft.com/office/drawing/2014/main" id="{C15EAB5C-DC14-0E7A-DE01-849A5056663E}"/>
                </a:ext>
              </a:extLst>
            </p:cNvPr>
            <p:cNvGrpSpPr/>
            <p:nvPr userDrawn="1"/>
          </p:nvGrpSpPr>
          <p:grpSpPr>
            <a:xfrm>
              <a:off x="7563294" y="1222444"/>
              <a:ext cx="2853056" cy="1022920"/>
              <a:chOff x="7251064" y="1318260"/>
              <a:chExt cx="2853056" cy="1022920"/>
            </a:xfrm>
          </p:grpSpPr>
          <p:sp>
            <p:nvSpPr>
              <p:cNvPr id="19" name="Freeform: Shape 18">
                <a:extLst>
                  <a:ext uri="{FF2B5EF4-FFF2-40B4-BE49-F238E27FC236}">
                    <a16:creationId xmlns:a16="http://schemas.microsoft.com/office/drawing/2014/main" id="{080DAEA6-4345-8A5E-314F-51F07A280411}"/>
                  </a:ext>
                </a:extLst>
              </p:cNvPr>
              <p:cNvSpPr/>
              <p:nvPr userDrawn="1"/>
            </p:nvSpPr>
            <p:spPr>
              <a:xfrm>
                <a:off x="7338060" y="1318260"/>
                <a:ext cx="2766060" cy="937260"/>
              </a:xfrm>
              <a:custGeom>
                <a:avLst/>
                <a:gdLst>
                  <a:gd name="connsiteX0" fmla="*/ 1082040 w 2766060"/>
                  <a:gd name="connsiteY0" fmla="*/ 274320 h 937260"/>
                  <a:gd name="connsiteX1" fmla="*/ 1569720 w 2766060"/>
                  <a:gd name="connsiteY1" fmla="*/ 274320 h 937260"/>
                  <a:gd name="connsiteX2" fmla="*/ 1844040 w 2766060"/>
                  <a:gd name="connsiteY2" fmla="*/ 0 h 937260"/>
                  <a:gd name="connsiteX3" fmla="*/ 2766060 w 2766060"/>
                  <a:gd name="connsiteY3" fmla="*/ 0 h 937260"/>
                  <a:gd name="connsiteX4" fmla="*/ 2766060 w 2766060"/>
                  <a:gd name="connsiteY4" fmla="*/ 281940 h 937260"/>
                  <a:gd name="connsiteX5" fmla="*/ 2537460 w 2766060"/>
                  <a:gd name="connsiteY5" fmla="*/ 510540 h 937260"/>
                  <a:gd name="connsiteX6" fmla="*/ 1569720 w 2766060"/>
                  <a:gd name="connsiteY6" fmla="*/ 510540 h 937260"/>
                  <a:gd name="connsiteX7" fmla="*/ 1371600 w 2766060"/>
                  <a:gd name="connsiteY7" fmla="*/ 708660 h 937260"/>
                  <a:gd name="connsiteX8" fmla="*/ 228600 w 2766060"/>
                  <a:gd name="connsiteY8" fmla="*/ 708660 h 937260"/>
                  <a:gd name="connsiteX9" fmla="*/ 0 w 2766060"/>
                  <a:gd name="connsiteY9" fmla="*/ 937260 h 9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060" h="937260">
                    <a:moveTo>
                      <a:pt x="1082040" y="274320"/>
                    </a:moveTo>
                    <a:lnTo>
                      <a:pt x="1569720" y="274320"/>
                    </a:lnTo>
                    <a:lnTo>
                      <a:pt x="1844040" y="0"/>
                    </a:lnTo>
                    <a:lnTo>
                      <a:pt x="2766060" y="0"/>
                    </a:lnTo>
                    <a:lnTo>
                      <a:pt x="2766060" y="281940"/>
                    </a:lnTo>
                    <a:lnTo>
                      <a:pt x="2537460" y="510540"/>
                    </a:lnTo>
                    <a:lnTo>
                      <a:pt x="1569720" y="510540"/>
                    </a:lnTo>
                    <a:lnTo>
                      <a:pt x="1371600" y="708660"/>
                    </a:lnTo>
                    <a:lnTo>
                      <a:pt x="228600" y="708660"/>
                    </a:lnTo>
                    <a:lnTo>
                      <a:pt x="0" y="937260"/>
                    </a:lnTo>
                  </a:path>
                </a:pathLst>
              </a:cu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2396"/>
              </a:p>
            </p:txBody>
          </p:sp>
          <p:sp>
            <p:nvSpPr>
              <p:cNvPr id="20" name="Oval 19">
                <a:extLst>
                  <a:ext uri="{FF2B5EF4-FFF2-40B4-BE49-F238E27FC236}">
                    <a16:creationId xmlns:a16="http://schemas.microsoft.com/office/drawing/2014/main" id="{5E033A54-2397-17DC-70ED-CD64240BF6E2}"/>
                  </a:ext>
                </a:extLst>
              </p:cNvPr>
              <p:cNvSpPr/>
              <p:nvPr userDrawn="1"/>
            </p:nvSpPr>
            <p:spPr>
              <a:xfrm flipH="1">
                <a:off x="8258810" y="1523635"/>
                <a:ext cx="159624" cy="159624"/>
              </a:xfrm>
              <a:prstGeom prst="ellipse">
                <a:avLst/>
              </a:pr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21" name="Oval 20">
                <a:extLst>
                  <a:ext uri="{FF2B5EF4-FFF2-40B4-BE49-F238E27FC236}">
                    <a16:creationId xmlns:a16="http://schemas.microsoft.com/office/drawing/2014/main" id="{5FA02E3B-83B2-3DF1-A821-FAFD42A77107}"/>
                  </a:ext>
                </a:extLst>
              </p:cNvPr>
              <p:cNvSpPr/>
              <p:nvPr userDrawn="1"/>
            </p:nvSpPr>
            <p:spPr>
              <a:xfrm flipH="1">
                <a:off x="7251064" y="2239184"/>
                <a:ext cx="101996" cy="101996"/>
              </a:xfrm>
              <a:prstGeom prst="ellipse">
                <a:avLst/>
              </a:pr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grpSp>
        <p:grpSp>
          <p:nvGrpSpPr>
            <p:cNvPr id="13" name="Group 12">
              <a:extLst>
                <a:ext uri="{FF2B5EF4-FFF2-40B4-BE49-F238E27FC236}">
                  <a16:creationId xmlns:a16="http://schemas.microsoft.com/office/drawing/2014/main" id="{DD0E8F92-A016-E58E-BF23-6F3DD1A17000}"/>
                </a:ext>
              </a:extLst>
            </p:cNvPr>
            <p:cNvGrpSpPr/>
            <p:nvPr userDrawn="1"/>
          </p:nvGrpSpPr>
          <p:grpSpPr>
            <a:xfrm flipH="1">
              <a:off x="6426339" y="0"/>
              <a:ext cx="3442047" cy="913305"/>
              <a:chOff x="-8801100" y="-6064967"/>
              <a:chExt cx="14164370" cy="3758342"/>
            </a:xfrm>
          </p:grpSpPr>
          <p:sp>
            <p:nvSpPr>
              <p:cNvPr id="17" name="Freeform: Shape 16">
                <a:extLst>
                  <a:ext uri="{FF2B5EF4-FFF2-40B4-BE49-F238E27FC236}">
                    <a16:creationId xmlns:a16="http://schemas.microsoft.com/office/drawing/2014/main" id="{C2AEF793-550C-D74B-488F-60258420830F}"/>
                  </a:ext>
                </a:extLst>
              </p:cNvPr>
              <p:cNvSpPr/>
              <p:nvPr/>
            </p:nvSpPr>
            <p:spPr>
              <a:xfrm rot="5400000">
                <a:off x="-3598086" y="-11267981"/>
                <a:ext cx="3758342" cy="14164370"/>
              </a:xfrm>
              <a:custGeom>
                <a:avLst/>
                <a:gdLst>
                  <a:gd name="connsiteX0" fmla="*/ 0 w 3758342"/>
                  <a:gd name="connsiteY0" fmla="*/ 14164370 h 14164370"/>
                  <a:gd name="connsiteX1" fmla="*/ 0 w 3758342"/>
                  <a:gd name="connsiteY1" fmla="*/ 11706920 h 14164370"/>
                  <a:gd name="connsiteX2" fmla="*/ 0 w 3758342"/>
                  <a:gd name="connsiteY2" fmla="*/ 2457450 h 14164370"/>
                  <a:gd name="connsiteX3" fmla="*/ 0 w 3758342"/>
                  <a:gd name="connsiteY3" fmla="*/ 0 h 14164370"/>
                  <a:gd name="connsiteX4" fmla="*/ 158349 w 3758342"/>
                  <a:gd name="connsiteY4" fmla="*/ 53579 h 14164370"/>
                  <a:gd name="connsiteX5" fmla="*/ 3758342 w 3758342"/>
                  <a:gd name="connsiteY5" fmla="*/ 5207066 h 14164370"/>
                  <a:gd name="connsiteX6" fmla="*/ 3758342 w 3758342"/>
                  <a:gd name="connsiteY6" fmla="*/ 7664516 h 14164370"/>
                  <a:gd name="connsiteX7" fmla="*/ 3758342 w 3758342"/>
                  <a:gd name="connsiteY7" fmla="*/ 11706920 h 14164370"/>
                  <a:gd name="connsiteX8" fmla="*/ 3758342 w 3758342"/>
                  <a:gd name="connsiteY8" fmla="*/ 14164370 h 1416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8342" h="14164370">
                    <a:moveTo>
                      <a:pt x="0" y="14164370"/>
                    </a:moveTo>
                    <a:lnTo>
                      <a:pt x="0" y="11706920"/>
                    </a:lnTo>
                    <a:lnTo>
                      <a:pt x="0" y="2457450"/>
                    </a:lnTo>
                    <a:lnTo>
                      <a:pt x="0" y="0"/>
                    </a:lnTo>
                    <a:lnTo>
                      <a:pt x="158349" y="53579"/>
                    </a:lnTo>
                    <a:cubicBezTo>
                      <a:pt x="2259108" y="822770"/>
                      <a:pt x="3758342" y="2839835"/>
                      <a:pt x="3758342" y="5207066"/>
                    </a:cubicBezTo>
                    <a:lnTo>
                      <a:pt x="3758342" y="7664516"/>
                    </a:lnTo>
                    <a:lnTo>
                      <a:pt x="3758342" y="11706920"/>
                    </a:lnTo>
                    <a:lnTo>
                      <a:pt x="3758342" y="14164370"/>
                    </a:lnTo>
                    <a:close/>
                  </a:path>
                </a:pathLst>
              </a:custGeom>
              <a:gradFill flip="none" rotWithShape="1">
                <a:gsLst>
                  <a:gs pos="2000">
                    <a:srgbClr val="342961">
                      <a:alpha val="93000"/>
                    </a:srgbClr>
                  </a:gs>
                  <a:gs pos="100000">
                    <a:srgbClr val="2096E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8" name="Freeform: Shape 17">
                <a:extLst>
                  <a:ext uri="{FF2B5EF4-FFF2-40B4-BE49-F238E27FC236}">
                    <a16:creationId xmlns:a16="http://schemas.microsoft.com/office/drawing/2014/main" id="{D6204459-DC7B-71D4-B4C6-156BC4CB8D5D}"/>
                  </a:ext>
                </a:extLst>
              </p:cNvPr>
              <p:cNvSpPr/>
              <p:nvPr/>
            </p:nvSpPr>
            <p:spPr>
              <a:xfrm>
                <a:off x="-51252" y="-5887006"/>
                <a:ext cx="5193918" cy="3580381"/>
              </a:xfrm>
              <a:custGeom>
                <a:avLst/>
                <a:gdLst>
                  <a:gd name="connsiteX0" fmla="*/ 3581533 w 5193918"/>
                  <a:gd name="connsiteY0" fmla="*/ 0 h 3580381"/>
                  <a:gd name="connsiteX1" fmla="*/ 5134289 w 5193918"/>
                  <a:gd name="connsiteY1" fmla="*/ 353181 h 3580381"/>
                  <a:gd name="connsiteX2" fmla="*/ 5193918 w 5193918"/>
                  <a:gd name="connsiteY2" fmla="*/ 383721 h 3580381"/>
                  <a:gd name="connsiteX3" fmla="*/ 5015756 w 5193918"/>
                  <a:gd name="connsiteY3" fmla="*/ 738223 h 3580381"/>
                  <a:gd name="connsiteX4" fmla="*/ 207456 w 5193918"/>
                  <a:gd name="connsiteY4" fmla="*/ 3580381 h 3580381"/>
                  <a:gd name="connsiteX5" fmla="*/ 0 w 5193918"/>
                  <a:gd name="connsiteY5" fmla="*/ 3580381 h 3580381"/>
                  <a:gd name="connsiteX6" fmla="*/ 4630 w 5193918"/>
                  <a:gd name="connsiteY6" fmla="*/ 3397256 h 3580381"/>
                  <a:gd name="connsiteX7" fmla="*/ 3581533 w 5193918"/>
                  <a:gd name="connsiteY7" fmla="*/ 0 h 358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3918" h="3580381">
                    <a:moveTo>
                      <a:pt x="3581533" y="0"/>
                    </a:moveTo>
                    <a:cubicBezTo>
                      <a:pt x="4137858" y="0"/>
                      <a:pt x="4664557" y="126841"/>
                      <a:pt x="5134289" y="353181"/>
                    </a:cubicBezTo>
                    <a:lnTo>
                      <a:pt x="5193918" y="383721"/>
                    </a:lnTo>
                    <a:lnTo>
                      <a:pt x="5015756" y="738223"/>
                    </a:lnTo>
                    <a:cubicBezTo>
                      <a:pt x="4082014" y="2432530"/>
                      <a:pt x="2278783" y="3580381"/>
                      <a:pt x="207456" y="3580381"/>
                    </a:cubicBezTo>
                    <a:lnTo>
                      <a:pt x="0" y="3580381"/>
                    </a:lnTo>
                    <a:lnTo>
                      <a:pt x="4630" y="3397256"/>
                    </a:lnTo>
                    <a:cubicBezTo>
                      <a:pt x="100556" y="1504866"/>
                      <a:pt x="1665304" y="0"/>
                      <a:pt x="3581533" y="0"/>
                    </a:cubicBezTo>
                    <a:close/>
                  </a:path>
                </a:pathLst>
              </a:custGeom>
              <a:gradFill>
                <a:gsLst>
                  <a:gs pos="100000">
                    <a:srgbClr val="D59DFF">
                      <a:alpha val="23000"/>
                    </a:srgbClr>
                  </a:gs>
                  <a:gs pos="0">
                    <a:srgbClr val="1F9CF0">
                      <a:alpha val="2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grpSp>
        <p:sp>
          <p:nvSpPr>
            <p:cNvPr id="14" name="Freeform: Shape 13">
              <a:extLst>
                <a:ext uri="{FF2B5EF4-FFF2-40B4-BE49-F238E27FC236}">
                  <a16:creationId xmlns:a16="http://schemas.microsoft.com/office/drawing/2014/main" id="{8D3D36A4-87E7-9446-BCC6-B0C57E650CBC}"/>
                </a:ext>
              </a:extLst>
            </p:cNvPr>
            <p:cNvSpPr/>
            <p:nvPr userDrawn="1"/>
          </p:nvSpPr>
          <p:spPr>
            <a:xfrm>
              <a:off x="9761368" y="1"/>
              <a:ext cx="2430633" cy="1963134"/>
            </a:xfrm>
            <a:custGeom>
              <a:avLst/>
              <a:gdLst>
                <a:gd name="connsiteX0" fmla="*/ 72962 w 2430633"/>
                <a:gd name="connsiteY0" fmla="*/ 0 h 1963134"/>
                <a:gd name="connsiteX1" fmla="*/ 531131 w 2430633"/>
                <a:gd name="connsiteY1" fmla="*/ 0 h 1963134"/>
                <a:gd name="connsiteX2" fmla="*/ 520604 w 2430633"/>
                <a:gd name="connsiteY2" fmla="*/ 19395 h 1963134"/>
                <a:gd name="connsiteX3" fmla="*/ 435275 w 2430633"/>
                <a:gd name="connsiteY3" fmla="*/ 442043 h 1963134"/>
                <a:gd name="connsiteX4" fmla="*/ 1521090 w 2430633"/>
                <a:gd name="connsiteY4" fmla="*/ 1527858 h 1963134"/>
                <a:gd name="connsiteX5" fmla="*/ 2421465 w 2430633"/>
                <a:gd name="connsiteY5" fmla="*/ 1049133 h 1963134"/>
                <a:gd name="connsiteX6" fmla="*/ 2430633 w 2430633"/>
                <a:gd name="connsiteY6" fmla="*/ 1034041 h 1963134"/>
                <a:gd name="connsiteX7" fmla="*/ 2430633 w 2430633"/>
                <a:gd name="connsiteY7" fmla="*/ 1659171 h 1963134"/>
                <a:gd name="connsiteX8" fmla="*/ 2371546 w 2430633"/>
                <a:gd name="connsiteY8" fmla="*/ 1703356 h 1963134"/>
                <a:gd name="connsiteX9" fmla="*/ 1521090 w 2430633"/>
                <a:gd name="connsiteY9" fmla="*/ 1963134 h 1963134"/>
                <a:gd name="connsiteX10" fmla="*/ 0 w 2430633"/>
                <a:gd name="connsiteY10" fmla="*/ 442043 h 1963134"/>
                <a:gd name="connsiteX11" fmla="*/ 30903 w 2430633"/>
                <a:gd name="connsiteY11" fmla="*/ 135490 h 196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0633" h="1963134">
                  <a:moveTo>
                    <a:pt x="72962" y="0"/>
                  </a:moveTo>
                  <a:lnTo>
                    <a:pt x="531131" y="0"/>
                  </a:lnTo>
                  <a:lnTo>
                    <a:pt x="520604" y="19395"/>
                  </a:lnTo>
                  <a:cubicBezTo>
                    <a:pt x="465659" y="149300"/>
                    <a:pt x="435275" y="292123"/>
                    <a:pt x="435275" y="442043"/>
                  </a:cubicBezTo>
                  <a:cubicBezTo>
                    <a:pt x="435275" y="1041722"/>
                    <a:pt x="921411" y="1527858"/>
                    <a:pt x="1521090" y="1527858"/>
                  </a:cubicBezTo>
                  <a:cubicBezTo>
                    <a:pt x="1895890" y="1527858"/>
                    <a:pt x="2226336" y="1337961"/>
                    <a:pt x="2421465" y="1049133"/>
                  </a:cubicBezTo>
                  <a:lnTo>
                    <a:pt x="2430633" y="1034041"/>
                  </a:lnTo>
                  <a:lnTo>
                    <a:pt x="2430633" y="1659171"/>
                  </a:lnTo>
                  <a:lnTo>
                    <a:pt x="2371546" y="1703356"/>
                  </a:lnTo>
                  <a:cubicBezTo>
                    <a:pt x="2128779" y="1867366"/>
                    <a:pt x="1836118" y="1963134"/>
                    <a:pt x="1521090" y="1963134"/>
                  </a:cubicBezTo>
                  <a:cubicBezTo>
                    <a:pt x="681015" y="1963134"/>
                    <a:pt x="0" y="1282118"/>
                    <a:pt x="0" y="442043"/>
                  </a:cubicBezTo>
                  <a:cubicBezTo>
                    <a:pt x="0" y="337034"/>
                    <a:pt x="10641" y="234510"/>
                    <a:pt x="30903" y="13549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5" name="Oval 14">
              <a:extLst>
                <a:ext uri="{FF2B5EF4-FFF2-40B4-BE49-F238E27FC236}">
                  <a16:creationId xmlns:a16="http://schemas.microsoft.com/office/drawing/2014/main" id="{5681CE15-9F22-BDFF-EA28-8D1C80094AEC}"/>
                </a:ext>
              </a:extLst>
            </p:cNvPr>
            <p:cNvSpPr/>
            <p:nvPr userDrawn="1"/>
          </p:nvSpPr>
          <p:spPr>
            <a:xfrm flipH="1">
              <a:off x="10577715" y="1733904"/>
              <a:ext cx="252468" cy="252468"/>
            </a:xfrm>
            <a:prstGeom prst="ellipse">
              <a:avLst/>
            </a:prstGeom>
            <a:noFill/>
            <a:ln w="6350">
              <a:solidFill>
                <a:srgbClr val="BFE8F6">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6" name="Freeform: Shape 15">
              <a:extLst>
                <a:ext uri="{FF2B5EF4-FFF2-40B4-BE49-F238E27FC236}">
                  <a16:creationId xmlns:a16="http://schemas.microsoft.com/office/drawing/2014/main" id="{97C9C2EE-B74F-A44D-3F95-7DA63008CC5A}"/>
                </a:ext>
              </a:extLst>
            </p:cNvPr>
            <p:cNvSpPr/>
            <p:nvPr userDrawn="1"/>
          </p:nvSpPr>
          <p:spPr>
            <a:xfrm>
              <a:off x="10191116" y="2"/>
              <a:ext cx="2000884" cy="1531759"/>
            </a:xfrm>
            <a:custGeom>
              <a:avLst/>
              <a:gdLst>
                <a:gd name="connsiteX0" fmla="*/ 95480 w 2000884"/>
                <a:gd name="connsiteY0" fmla="*/ 0 h 1531759"/>
                <a:gd name="connsiteX1" fmla="*/ 2000884 w 2000884"/>
                <a:gd name="connsiteY1" fmla="*/ 0 h 1531759"/>
                <a:gd name="connsiteX2" fmla="*/ 2000884 w 2000884"/>
                <a:gd name="connsiteY2" fmla="*/ 1043777 h 1531759"/>
                <a:gd name="connsiteX3" fmla="*/ 1996298 w 2000884"/>
                <a:gd name="connsiteY3" fmla="*/ 1051314 h 1531759"/>
                <a:gd name="connsiteX4" fmla="*/ 1091341 w 2000884"/>
                <a:gd name="connsiteY4" fmla="*/ 1531759 h 1531759"/>
                <a:gd name="connsiteX5" fmla="*/ 0 w 2000884"/>
                <a:gd name="connsiteY5" fmla="*/ 442043 h 1531759"/>
                <a:gd name="connsiteX6" fmla="*/ 85763 w 2000884"/>
                <a:gd name="connsiteY6" fmla="*/ 17876 h 153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884" h="1531759">
                  <a:moveTo>
                    <a:pt x="95480" y="0"/>
                  </a:moveTo>
                  <a:lnTo>
                    <a:pt x="2000884" y="0"/>
                  </a:lnTo>
                  <a:lnTo>
                    <a:pt x="2000884" y="1043777"/>
                  </a:lnTo>
                  <a:lnTo>
                    <a:pt x="1996298" y="1051314"/>
                  </a:lnTo>
                  <a:cubicBezTo>
                    <a:pt x="1800176" y="1341180"/>
                    <a:pt x="1468048" y="1531759"/>
                    <a:pt x="1091341" y="1531759"/>
                  </a:cubicBezTo>
                  <a:cubicBezTo>
                    <a:pt x="488610" y="1531759"/>
                    <a:pt x="0" y="1043877"/>
                    <a:pt x="0" y="442043"/>
                  </a:cubicBezTo>
                  <a:cubicBezTo>
                    <a:pt x="0" y="291585"/>
                    <a:pt x="30538" y="148248"/>
                    <a:pt x="85763" y="17876"/>
                  </a:cubicBezTo>
                  <a:close/>
                </a:path>
              </a:pathLst>
            </a:custGeom>
            <a:gradFill flip="none" rotWithShape="1">
              <a:gsLst>
                <a:gs pos="2000">
                  <a:srgbClr val="342961">
                    <a:alpha val="93000"/>
                  </a:srgbClr>
                </a:gs>
                <a:gs pos="100000">
                  <a:srgbClr val="2096E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sz="2396">
                <a:solidFill>
                  <a:schemeClr val="lt1"/>
                </a:solidFill>
                <a:sym typeface="Calibri"/>
              </a:endParaRPr>
            </a:p>
          </p:txBody>
        </p:sp>
      </p:grpSp>
      <p:sp>
        <p:nvSpPr>
          <p:cNvPr id="22" name="Google Shape;74;p15">
            <a:extLst>
              <a:ext uri="{FF2B5EF4-FFF2-40B4-BE49-F238E27FC236}">
                <a16:creationId xmlns:a16="http://schemas.microsoft.com/office/drawing/2014/main" id="{B45F3749-769E-DA54-88F0-E2FE19871245}"/>
              </a:ext>
            </a:extLst>
          </p:cNvPr>
          <p:cNvSpPr txBox="1">
            <a:spLocks noGrp="1"/>
          </p:cNvSpPr>
          <p:nvPr>
            <p:ph type="title"/>
          </p:nvPr>
        </p:nvSpPr>
        <p:spPr>
          <a:xfrm>
            <a:off x="2086437" y="2112721"/>
            <a:ext cx="3494911" cy="1504604"/>
          </a:xfrm>
          <a:prstGeom prst="rect">
            <a:avLst/>
          </a:prstGeom>
        </p:spPr>
        <p:txBody>
          <a:bodyPr spcFirstLastPara="1" wrap="square" lIns="45700" tIns="18275" rIns="45700" bIns="18275" anchor="ctr" anchorCtr="0">
            <a:noAutofit/>
          </a:bodyPr>
          <a:lstStyle>
            <a:lvl1pPr lvl="0" rtl="0">
              <a:lnSpc>
                <a:spcPct val="90000"/>
              </a:lnSpc>
              <a:spcBef>
                <a:spcPts val="0"/>
              </a:spcBef>
              <a:spcAft>
                <a:spcPts val="0"/>
              </a:spcAft>
              <a:buSzPts val="5400"/>
              <a:buNone/>
              <a:defRPr sz="5325"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 name="Arrow: Bent 26">
            <a:extLst>
              <a:ext uri="{FF2B5EF4-FFF2-40B4-BE49-F238E27FC236}">
                <a16:creationId xmlns:a16="http://schemas.microsoft.com/office/drawing/2014/main" id="{D87425F4-A309-21E8-AD9E-187EDDF4FC4A}"/>
              </a:ext>
              <a:ext uri="{C183D7F6-B498-43B3-948B-1728B52AA6E4}">
                <adec:decorative xmlns:adec="http://schemas.microsoft.com/office/drawing/2017/decorative" val="1"/>
              </a:ext>
            </a:extLst>
          </p:cNvPr>
          <p:cNvSpPr/>
          <p:nvPr userDrawn="1"/>
        </p:nvSpPr>
        <p:spPr>
          <a:xfrm rot="10800000">
            <a:off x="1969486" y="1314648"/>
            <a:ext cx="3528340" cy="2383591"/>
          </a:xfrm>
          <a:prstGeom prst="bentArrow">
            <a:avLst>
              <a:gd name="adj1" fmla="val 25000"/>
              <a:gd name="adj2" fmla="val 0"/>
              <a:gd name="adj3" fmla="val 25000"/>
              <a:gd name="adj4" fmla="val 12302"/>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solidFill>
                <a:schemeClr val="tx1"/>
              </a:solidFill>
            </a:endParaRPr>
          </a:p>
        </p:txBody>
      </p:sp>
      <p:sp>
        <p:nvSpPr>
          <p:cNvPr id="28" name="Arrow: U-Turn 27">
            <a:extLst>
              <a:ext uri="{FF2B5EF4-FFF2-40B4-BE49-F238E27FC236}">
                <a16:creationId xmlns:a16="http://schemas.microsoft.com/office/drawing/2014/main" id="{DF180DA9-1FA8-89A2-6ADD-F9CE7474A860}"/>
              </a:ext>
              <a:ext uri="{C183D7F6-B498-43B3-948B-1728B52AA6E4}">
                <adec:decorative xmlns:adec="http://schemas.microsoft.com/office/drawing/2017/decorative" val="1"/>
              </a:ext>
            </a:extLst>
          </p:cNvPr>
          <p:cNvSpPr/>
          <p:nvPr userDrawn="1"/>
        </p:nvSpPr>
        <p:spPr>
          <a:xfrm>
            <a:off x="5498826" y="304801"/>
            <a:ext cx="597173" cy="1009846"/>
          </a:xfrm>
          <a:prstGeom prst="uturnArrow">
            <a:avLst>
              <a:gd name="adj1" fmla="val 0"/>
              <a:gd name="adj2" fmla="val 0"/>
              <a:gd name="adj3" fmla="val 0"/>
              <a:gd name="adj4" fmla="val 50000"/>
              <a:gd name="adj5" fmla="val 32964"/>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solidFill>
                <a:schemeClr val="tx1"/>
              </a:solidFill>
            </a:endParaRPr>
          </a:p>
        </p:txBody>
      </p:sp>
      <p:cxnSp>
        <p:nvCxnSpPr>
          <p:cNvPr id="44" name="Straight Arrow Connector 43">
            <a:extLst>
              <a:ext uri="{FF2B5EF4-FFF2-40B4-BE49-F238E27FC236}">
                <a16:creationId xmlns:a16="http://schemas.microsoft.com/office/drawing/2014/main" id="{2E910B89-D595-9163-C735-BEC27695F783}"/>
              </a:ext>
              <a:ext uri="{C183D7F6-B498-43B3-948B-1728B52AA6E4}">
                <adec:decorative xmlns:adec="http://schemas.microsoft.com/office/drawing/2017/decorative" val="1"/>
              </a:ext>
            </a:extLst>
          </p:cNvPr>
          <p:cNvCxnSpPr>
            <a:cxnSpLocks/>
          </p:cNvCxnSpPr>
          <p:nvPr userDrawn="1"/>
        </p:nvCxnSpPr>
        <p:spPr>
          <a:xfrm>
            <a:off x="6100116" y="6363541"/>
            <a:ext cx="0" cy="494459"/>
          </a:xfrm>
          <a:prstGeom prst="straightConnector1">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3" name="Google Shape;84;p16">
            <a:extLst>
              <a:ext uri="{FF2B5EF4-FFF2-40B4-BE49-F238E27FC236}">
                <a16:creationId xmlns:a16="http://schemas.microsoft.com/office/drawing/2014/main" id="{8E7A2B80-0948-97B9-AC9D-301C1591AC71}"/>
              </a:ext>
            </a:extLst>
          </p:cNvPr>
          <p:cNvSpPr txBox="1">
            <a:spLocks noGrp="1"/>
          </p:cNvSpPr>
          <p:nvPr>
            <p:ph type="body" idx="1"/>
          </p:nvPr>
        </p:nvSpPr>
        <p:spPr>
          <a:xfrm>
            <a:off x="5842003" y="641712"/>
            <a:ext cx="4884389" cy="5721828"/>
          </a:xfrm>
          <a:prstGeom prst="roundRect">
            <a:avLst>
              <a:gd name="adj" fmla="val 3592"/>
            </a:avLst>
          </a:prstGeom>
          <a:solidFill>
            <a:srgbClr val="5D4F92">
              <a:alpha val="42000"/>
            </a:srgbClr>
          </a:solidFill>
        </p:spPr>
        <p:txBody>
          <a:bodyPr spcFirstLastPara="1" wrap="square" lIns="45700" tIns="18275" rIns="45700" bIns="18275" anchor="ctr" anchorCtr="0">
            <a:noAutofit/>
          </a:bodyPr>
          <a:lstStyle>
            <a:lvl1pPr marL="310664" lvl="0" indent="-310664">
              <a:lnSpc>
                <a:spcPct val="100000"/>
              </a:lnSpc>
              <a:spcBef>
                <a:spcPts val="0"/>
              </a:spcBef>
              <a:spcAft>
                <a:spcPts val="1598"/>
              </a:spcAft>
              <a:buClr>
                <a:schemeClr val="accent1"/>
              </a:buClr>
              <a:buSzPct val="100000"/>
              <a:buFont typeface="+mj-lt"/>
              <a:buAutoNum type="arabicPeriod"/>
              <a:defRPr sz="2130"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pic>
        <p:nvPicPr>
          <p:cNvPr id="9" name="Picture 8">
            <a:extLst>
              <a:ext uri="{FF2B5EF4-FFF2-40B4-BE49-F238E27FC236}">
                <a16:creationId xmlns:a16="http://schemas.microsoft.com/office/drawing/2014/main" id="{70F4B9BB-8F9D-370C-07BF-D3A8713F9CCF}"/>
              </a:ext>
              <a:ext uri="{C183D7F6-B498-43B3-948B-1728B52AA6E4}">
                <adec:decorative xmlns:adec="http://schemas.microsoft.com/office/drawing/2017/decorative" val="1"/>
              </a:ext>
            </a:extLst>
          </p:cNvPr>
          <p:cNvPicPr preferRelativeResize="0"/>
          <p:nvPr userDrawn="1"/>
        </p:nvPicPr>
        <p:blipFill rotWithShape="1">
          <a:blip r:embed="rId3">
            <a:alphaModFix amt="30000"/>
          </a:blip>
          <a:srcRect l="-565" t="-859" r="79904" b="-498"/>
          <a:stretch/>
        </p:blipFill>
        <p:spPr>
          <a:xfrm flipV="1">
            <a:off x="11015331" y="532191"/>
            <a:ext cx="1176669" cy="5793620"/>
          </a:xfrm>
          <a:custGeom>
            <a:avLst/>
            <a:gdLst>
              <a:gd name="connsiteX0" fmla="*/ 0 w 3915966"/>
              <a:gd name="connsiteY0" fmla="*/ 2085975 h 2085975"/>
              <a:gd name="connsiteX1" fmla="*/ 3915966 w 3915966"/>
              <a:gd name="connsiteY1" fmla="*/ 2085975 h 2085975"/>
              <a:gd name="connsiteX2" fmla="*/ 3915966 w 3915966"/>
              <a:gd name="connsiteY2" fmla="*/ 0 h 2085975"/>
              <a:gd name="connsiteX3" fmla="*/ 0 w 3915966"/>
              <a:gd name="connsiteY3" fmla="*/ 0 h 2085975"/>
            </a:gdLst>
            <a:ahLst/>
            <a:cxnLst>
              <a:cxn ang="0">
                <a:pos x="connsiteX0" y="connsiteY0"/>
              </a:cxn>
              <a:cxn ang="0">
                <a:pos x="connsiteX1" y="connsiteY1"/>
              </a:cxn>
              <a:cxn ang="0">
                <a:pos x="connsiteX2" y="connsiteY2"/>
              </a:cxn>
              <a:cxn ang="0">
                <a:pos x="connsiteX3" y="connsiteY3"/>
              </a:cxn>
            </a:cxnLst>
            <a:rect l="l" t="t" r="r" b="b"/>
            <a:pathLst>
              <a:path w="3915966" h="2085975">
                <a:moveTo>
                  <a:pt x="0" y="2085975"/>
                </a:moveTo>
                <a:lnTo>
                  <a:pt x="3915966" y="2085975"/>
                </a:lnTo>
                <a:lnTo>
                  <a:pt x="3915966" y="0"/>
                </a:lnTo>
                <a:lnTo>
                  <a:pt x="0" y="0"/>
                </a:lnTo>
                <a:close/>
              </a:path>
            </a:pathLst>
          </a:custGeom>
          <a:noFill/>
          <a:ln>
            <a:noFill/>
          </a:ln>
        </p:spPr>
      </p:pic>
    </p:spTree>
    <p:extLst>
      <p:ext uri="{BB962C8B-B14F-4D97-AF65-F5344CB8AC3E}">
        <p14:creationId xmlns:p14="http://schemas.microsoft.com/office/powerpoint/2010/main" val="373619779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matchingName="End Slide" preserve="1">
  <p:cSld name="End Slide">
    <p:spTree>
      <p:nvGrpSpPr>
        <p:cNvPr id="1" name="Shape 76"/>
        <p:cNvGrpSpPr/>
        <p:nvPr/>
      </p:nvGrpSpPr>
      <p:grpSpPr>
        <a:xfrm>
          <a:off x="0" y="0"/>
          <a:ext cx="0" cy="0"/>
          <a:chOff x="0" y="0"/>
          <a:chExt cx="0" cy="0"/>
        </a:xfrm>
      </p:grpSpPr>
      <p:grpSp>
        <p:nvGrpSpPr>
          <p:cNvPr id="2" name="Group 1">
            <a:extLst>
              <a:ext uri="{FF2B5EF4-FFF2-40B4-BE49-F238E27FC236}">
                <a16:creationId xmlns:a16="http://schemas.microsoft.com/office/drawing/2014/main" id="{C79008D2-194B-49D8-BBA4-B692D2DB120C}"/>
              </a:ext>
              <a:ext uri="{C183D7F6-B498-43B3-948B-1728B52AA6E4}">
                <adec:decorative xmlns:adec="http://schemas.microsoft.com/office/drawing/2017/decorative" val="1"/>
              </a:ext>
            </a:extLst>
          </p:cNvPr>
          <p:cNvGrpSpPr/>
          <p:nvPr userDrawn="1"/>
        </p:nvGrpSpPr>
        <p:grpSpPr>
          <a:xfrm>
            <a:off x="1" y="1"/>
            <a:ext cx="16459522" cy="7207260"/>
            <a:chOff x="0" y="0"/>
            <a:chExt cx="12344641" cy="5405445"/>
          </a:xfrm>
        </p:grpSpPr>
        <p:pic>
          <p:nvPicPr>
            <p:cNvPr id="77" name="Google Shape;77;p16">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0" y="0"/>
              <a:ext cx="5885013" cy="5143501"/>
            </a:xfrm>
            <a:prstGeom prst="rect">
              <a:avLst/>
            </a:prstGeom>
            <a:noFill/>
            <a:ln>
              <a:noFill/>
            </a:ln>
          </p:spPr>
        </p:pic>
        <p:sp>
          <p:nvSpPr>
            <p:cNvPr id="78" name="Google Shape;78;p16">
              <a:extLst>
                <a:ext uri="{C183D7F6-B498-43B3-948B-1728B52AA6E4}">
                  <adec:decorative xmlns:adec="http://schemas.microsoft.com/office/drawing/2017/decorative" val="1"/>
                </a:ext>
              </a:extLst>
            </p:cNvPr>
            <p:cNvSpPr/>
            <p:nvPr/>
          </p:nvSpPr>
          <p:spPr>
            <a:xfrm>
              <a:off x="1760228" y="1643076"/>
              <a:ext cx="3651900" cy="28626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79" name="Google Shape;79;p16">
              <a:extLst>
                <a:ext uri="{C183D7F6-B498-43B3-948B-1728B52AA6E4}">
                  <adec:decorative xmlns:adec="http://schemas.microsoft.com/office/drawing/2017/decorative" val="1"/>
                </a:ext>
              </a:extLst>
            </p:cNvPr>
            <p:cNvSpPr/>
            <p:nvPr/>
          </p:nvSpPr>
          <p:spPr>
            <a:xfrm rot="10800000">
              <a:off x="5412127" y="1642998"/>
              <a:ext cx="2833800" cy="2862600"/>
            </a:xfrm>
            <a:prstGeom prst="roundRect">
              <a:avLst>
                <a:gd name="adj" fmla="val 371"/>
              </a:avLst>
            </a:prstGeom>
            <a:gradFill>
              <a:gsLst>
                <a:gs pos="0">
                  <a:srgbClr val="9477E2"/>
                </a:gs>
                <a:gs pos="100000">
                  <a:srgbClr val="28AFEA"/>
                </a:gs>
              </a:gsLst>
              <a:lin ang="5400012"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pic>
          <p:nvPicPr>
            <p:cNvPr id="80" name="Google Shape;80;p16">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582272" y="1643076"/>
              <a:ext cx="3762369" cy="3762369"/>
            </a:xfrm>
            <a:prstGeom prst="rect">
              <a:avLst/>
            </a:prstGeom>
            <a:noFill/>
            <a:ln>
              <a:noFill/>
            </a:ln>
          </p:spPr>
        </p:pic>
        <p:sp>
          <p:nvSpPr>
            <p:cNvPr id="81" name="Google Shape;81;p16">
              <a:extLst>
                <a:ext uri="{C183D7F6-B498-43B3-948B-1728B52AA6E4}">
                  <adec:decorative xmlns:adec="http://schemas.microsoft.com/office/drawing/2017/decorative" val="1"/>
                </a:ext>
              </a:extLst>
            </p:cNvPr>
            <p:cNvSpPr/>
            <p:nvPr/>
          </p:nvSpPr>
          <p:spPr>
            <a:xfrm rot="10800000">
              <a:off x="8564425" y="225"/>
              <a:ext cx="73200" cy="14112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82" name="Google Shape;82;p16"/>
          <p:cNvSpPr txBox="1">
            <a:spLocks noGrp="1"/>
          </p:cNvSpPr>
          <p:nvPr>
            <p:ph type="title"/>
          </p:nvPr>
        </p:nvSpPr>
        <p:spPr>
          <a:xfrm>
            <a:off x="7022592" y="707136"/>
            <a:ext cx="3974400" cy="1036400"/>
          </a:xfrm>
          <a:prstGeom prst="rect">
            <a:avLst/>
          </a:prstGeom>
        </p:spPr>
        <p:txBody>
          <a:bodyPr spcFirstLastPara="1" wrap="square" lIns="45700" tIns="18275" rIns="45700" bIns="18275" anchor="t" anchorCtr="0">
            <a:noAutofit/>
          </a:bodyPr>
          <a:lstStyle>
            <a:lvl1pPr lvl="0" algn="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 name="Google Shape;83;p16"/>
          <p:cNvSpPr txBox="1">
            <a:spLocks noGrp="1"/>
          </p:cNvSpPr>
          <p:nvPr>
            <p:ph type="title" idx="2"/>
          </p:nvPr>
        </p:nvSpPr>
        <p:spPr>
          <a:xfrm>
            <a:off x="2804160" y="2572512"/>
            <a:ext cx="3804000" cy="10972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a:p>
        </p:txBody>
      </p:sp>
      <p:sp>
        <p:nvSpPr>
          <p:cNvPr id="84" name="Google Shape;84;p16"/>
          <p:cNvSpPr txBox="1">
            <a:spLocks noGrp="1"/>
          </p:cNvSpPr>
          <p:nvPr>
            <p:ph type="body" idx="1"/>
          </p:nvPr>
        </p:nvSpPr>
        <p:spPr>
          <a:xfrm>
            <a:off x="2791968" y="3742944"/>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pic>
        <p:nvPicPr>
          <p:cNvPr id="87" name="Google Shape;87;p16" descr="LinkedIn logo"/>
          <p:cNvPicPr preferRelativeResize="0"/>
          <p:nvPr/>
        </p:nvPicPr>
        <p:blipFill rotWithShape="1">
          <a:blip r:embed="rId4">
            <a:alphaModFix/>
          </a:blip>
          <a:srcRect/>
          <a:stretch/>
        </p:blipFill>
        <p:spPr>
          <a:xfrm>
            <a:off x="7634501" y="2601357"/>
            <a:ext cx="254410" cy="254409"/>
          </a:xfrm>
          <a:prstGeom prst="rect">
            <a:avLst/>
          </a:prstGeom>
          <a:noFill/>
          <a:ln>
            <a:noFill/>
          </a:ln>
        </p:spPr>
      </p:pic>
      <p:sp>
        <p:nvSpPr>
          <p:cNvPr id="85" name="Google Shape;85;p16"/>
          <p:cNvSpPr txBox="1">
            <a:spLocks noGrp="1"/>
          </p:cNvSpPr>
          <p:nvPr>
            <p:ph type="body" idx="3"/>
          </p:nvPr>
        </p:nvSpPr>
        <p:spPr>
          <a:xfrm>
            <a:off x="7985760" y="2633472"/>
            <a:ext cx="1865200" cy="244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
        <p:nvSpPr>
          <p:cNvPr id="88" name="Google Shape;88;p16" descr="An icon of mail"/>
          <p:cNvSpPr/>
          <p:nvPr/>
        </p:nvSpPr>
        <p:spPr>
          <a:xfrm>
            <a:off x="7613708" y="3102871"/>
            <a:ext cx="296424" cy="194256"/>
          </a:xfrm>
          <a:custGeom>
            <a:avLst/>
            <a:gdLst/>
            <a:ahLst/>
            <a:cxnLst/>
            <a:rect l="l" t="t" r="r" b="b"/>
            <a:pathLst>
              <a:path w="21600" h="21600" extrusionOk="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lt1"/>
          </a:solidFill>
          <a:ln>
            <a:noFill/>
          </a:ln>
        </p:spPr>
        <p:txBody>
          <a:bodyPr spcFirstLastPara="1" wrap="square" lIns="11915" tIns="11915" rIns="11915" bIns="11915" anchor="ctr" anchorCtr="0">
            <a:noAutofit/>
          </a:bodyPr>
          <a:lstStyle/>
          <a:p>
            <a:pPr marL="0" marR="0" lvl="0" indent="0" algn="ctr" rtl="0">
              <a:spcBef>
                <a:spcPts val="0"/>
              </a:spcBef>
              <a:spcAft>
                <a:spcPts val="0"/>
              </a:spcAft>
              <a:buNone/>
            </a:pPr>
            <a:endParaRPr sz="932" b="0" i="0">
              <a:solidFill>
                <a:srgbClr val="595959"/>
              </a:solidFill>
              <a:latin typeface="Helvetica" pitchFamily="2" charset="0"/>
              <a:ea typeface="Gill Sans"/>
              <a:cs typeface="Gill Sans"/>
              <a:sym typeface="Gill Sans"/>
            </a:endParaRPr>
          </a:p>
        </p:txBody>
      </p:sp>
      <p:sp>
        <p:nvSpPr>
          <p:cNvPr id="86" name="Google Shape;86;p16"/>
          <p:cNvSpPr txBox="1">
            <a:spLocks noGrp="1"/>
          </p:cNvSpPr>
          <p:nvPr>
            <p:ph type="body" idx="4"/>
          </p:nvPr>
        </p:nvSpPr>
        <p:spPr>
          <a:xfrm>
            <a:off x="7985760" y="3060192"/>
            <a:ext cx="18408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a:p>
        </p:txBody>
      </p:sp>
    </p:spTree>
    <p:extLst>
      <p:ext uri="{BB962C8B-B14F-4D97-AF65-F5344CB8AC3E}">
        <p14:creationId xmlns:p14="http://schemas.microsoft.com/office/powerpoint/2010/main" val="114422555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matchingName="Laptop Screen" preserve="1">
  <p:cSld name="Laptop Screen">
    <p:spTree>
      <p:nvGrpSpPr>
        <p:cNvPr id="1" name="Shape 89"/>
        <p:cNvGrpSpPr/>
        <p:nvPr/>
      </p:nvGrpSpPr>
      <p:grpSpPr>
        <a:xfrm>
          <a:off x="0" y="0"/>
          <a:ext cx="0" cy="0"/>
          <a:chOff x="0" y="0"/>
          <a:chExt cx="0" cy="0"/>
        </a:xfrm>
      </p:grpSpPr>
      <p:grpSp>
        <p:nvGrpSpPr>
          <p:cNvPr id="2" name="Group 1">
            <a:extLst>
              <a:ext uri="{FF2B5EF4-FFF2-40B4-BE49-F238E27FC236}">
                <a16:creationId xmlns:a16="http://schemas.microsoft.com/office/drawing/2014/main" id="{4A657735-2043-CCB0-5F53-5A2F05FD223D}"/>
              </a:ext>
              <a:ext uri="{C183D7F6-B498-43B3-948B-1728B52AA6E4}">
                <adec:decorative xmlns:adec="http://schemas.microsoft.com/office/drawing/2017/decorative" val="1"/>
              </a:ext>
            </a:extLst>
          </p:cNvPr>
          <p:cNvGrpSpPr/>
          <p:nvPr userDrawn="1"/>
        </p:nvGrpSpPr>
        <p:grpSpPr>
          <a:xfrm>
            <a:off x="-3954558" y="-3336012"/>
            <a:ext cx="20093353" cy="15515133"/>
            <a:chOff x="-2965919" y="-2502009"/>
            <a:chExt cx="15070015" cy="11636350"/>
          </a:xfrm>
        </p:grpSpPr>
        <p:sp>
          <p:nvSpPr>
            <p:cNvPr id="90" name="Google Shape;90;p17">
              <a:extLst>
                <a:ext uri="{C183D7F6-B498-43B3-948B-1728B52AA6E4}">
                  <adec:decorative xmlns:adec="http://schemas.microsoft.com/office/drawing/2017/decorative" val="1"/>
                </a:ext>
              </a:extLst>
            </p:cNvPr>
            <p:cNvSpPr/>
            <p:nvPr/>
          </p:nvSpPr>
          <p:spPr>
            <a:xfrm>
              <a:off x="578440" y="2538241"/>
              <a:ext cx="7986300" cy="6596100"/>
            </a:xfrm>
            <a:prstGeom prst="ellipse">
              <a:avLst/>
            </a:prstGeom>
            <a:gradFill>
              <a:gsLst>
                <a:gs pos="0">
                  <a:srgbClr val="D59DFF">
                    <a:alpha val="9803"/>
                  </a:srgbClr>
                </a:gs>
                <a:gs pos="79000">
                  <a:srgbClr val="1F9CF0"/>
                </a:gs>
                <a:gs pos="100000">
                  <a:srgbClr val="1F9CF0"/>
                </a:gs>
              </a:gsLst>
              <a:lin ang="5400012" scaled="0"/>
            </a:gradFill>
            <a:ln>
              <a:noFill/>
            </a:ln>
          </p:spPr>
          <p:txBody>
            <a:bodyPr spcFirstLastPara="1" wrap="square" lIns="42900" tIns="21450" rIns="42900" bIns="21450" anchor="ctr" anchorCtr="0">
              <a:noAutofit/>
            </a:bodyPr>
            <a:lstStyle/>
            <a:p>
              <a:pPr lvl="0" algn="ctr"/>
              <a:endParaRPr sz="1065">
                <a:solidFill>
                  <a:srgbClr val="FFFFFF"/>
                </a:solidFill>
                <a:latin typeface="Helvetica" pitchFamily="2" charset="0"/>
                <a:ea typeface="Calibri"/>
                <a:cs typeface="Calibri"/>
                <a:sym typeface="Calibri"/>
              </a:endParaRPr>
            </a:p>
          </p:txBody>
        </p:sp>
        <p:pic>
          <p:nvPicPr>
            <p:cNvPr id="91" name="Google Shape;91;p17">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1683473" y="1613647"/>
              <a:ext cx="5768748" cy="3152352"/>
            </a:xfrm>
            <a:prstGeom prst="rect">
              <a:avLst/>
            </a:prstGeom>
            <a:noFill/>
            <a:ln>
              <a:noFill/>
            </a:ln>
            <a:effectLst>
              <a:outerShdw blurRad="1270000" sx="90000" sy="-19000" rotWithShape="0">
                <a:srgbClr val="000000">
                  <a:alpha val="40000"/>
                </a:srgbClr>
              </a:outerShdw>
            </a:effectLst>
          </p:spPr>
        </p:pic>
        <p:sp>
          <p:nvSpPr>
            <p:cNvPr id="92" name="Google Shape;92;p17">
              <a:extLst>
                <a:ext uri="{C183D7F6-B498-43B3-948B-1728B52AA6E4}">
                  <adec:decorative xmlns:adec="http://schemas.microsoft.com/office/drawing/2017/decorative" val="1"/>
                </a:ext>
              </a:extLst>
            </p:cNvPr>
            <p:cNvSpPr/>
            <p:nvPr/>
          </p:nvSpPr>
          <p:spPr>
            <a:xfrm>
              <a:off x="724096" y="1898061"/>
              <a:ext cx="1595100" cy="837600"/>
            </a:xfrm>
            <a:prstGeom prst="wedgeRectCallout">
              <a:avLst>
                <a:gd name="adj1" fmla="val 72666"/>
                <a:gd name="adj2" fmla="val 36106"/>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sp>
          <p:nvSpPr>
            <p:cNvPr id="93" name="Google Shape;93;p17">
              <a:extLst>
                <a:ext uri="{C183D7F6-B498-43B3-948B-1728B52AA6E4}">
                  <adec:decorative xmlns:adec="http://schemas.microsoft.com/office/drawing/2017/decorative" val="1"/>
                </a:ext>
              </a:extLst>
            </p:cNvPr>
            <p:cNvSpPr/>
            <p:nvPr/>
          </p:nvSpPr>
          <p:spPr>
            <a:xfrm>
              <a:off x="724096" y="3129893"/>
              <a:ext cx="1595100" cy="794700"/>
            </a:xfrm>
            <a:prstGeom prst="wedgeRectCallout">
              <a:avLst>
                <a:gd name="adj1" fmla="val 74259"/>
                <a:gd name="adj2" fmla="val -62681"/>
              </a:avLst>
            </a:prstGeom>
            <a:gradFill>
              <a:gsLst>
                <a:gs pos="0">
                  <a:srgbClr val="1F9CF0"/>
                </a:gs>
                <a:gs pos="100000">
                  <a:srgbClr val="9477E2">
                    <a:alpha val="20000"/>
                  </a:srgbClr>
                </a:gs>
              </a:gsLst>
              <a:lin ang="2700006" scaled="0"/>
            </a:gradFill>
            <a:ln>
              <a:noFill/>
            </a:ln>
            <a:effectLst>
              <a:outerShdw blurRad="1270000" dist="685800" dir="18900000" sx="85000" sy="85000" algn="b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sp>
          <p:nvSpPr>
            <p:cNvPr id="94" name="Google Shape;94;p17">
              <a:extLst>
                <a:ext uri="{C183D7F6-B498-43B3-948B-1728B52AA6E4}">
                  <adec:decorative xmlns:adec="http://schemas.microsoft.com/office/drawing/2017/decorative" val="1"/>
                </a:ext>
              </a:extLst>
            </p:cNvPr>
            <p:cNvSpPr/>
            <p:nvPr/>
          </p:nvSpPr>
          <p:spPr>
            <a:xfrm>
              <a:off x="6824868" y="1898061"/>
              <a:ext cx="1595100" cy="837600"/>
            </a:xfrm>
            <a:prstGeom prst="wedgeRectCallout">
              <a:avLst>
                <a:gd name="adj1" fmla="val -82756"/>
                <a:gd name="adj2" fmla="val -6358"/>
              </a:avLst>
            </a:prstGeom>
            <a:gradFill>
              <a:gsLst>
                <a:gs pos="0">
                  <a:srgbClr val="9477E2">
                    <a:alpha val="20000"/>
                  </a:srgbClr>
                </a:gs>
                <a:gs pos="100000">
                  <a:srgbClr val="9477E2"/>
                </a:gs>
              </a:gsLst>
              <a:lin ang="0" scaled="0"/>
            </a:gradFill>
            <a:ln>
              <a:noFill/>
            </a:ln>
            <a:effectLst>
              <a:outerShdw blurRad="1270000" dist="1016000" dir="8100000" sx="86000" sy="86000" algn="tr" rotWithShape="0">
                <a:srgbClr val="000000">
                  <a:alpha val="4000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95" name="Google Shape;95;p17">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96" name="Google Shape;96;p17">
              <a:extLst>
                <a:ext uri="{C183D7F6-B498-43B3-948B-1728B52AA6E4}">
                  <adec:decorative xmlns:adec="http://schemas.microsoft.com/office/drawing/2017/decorative" val="1"/>
                </a:ext>
              </a:extLst>
            </p:cNvPr>
            <p:cNvSpPr/>
            <p:nvPr/>
          </p:nvSpPr>
          <p:spPr>
            <a:xfrm>
              <a:off x="6824140" y="3129892"/>
              <a:ext cx="1595100" cy="794700"/>
            </a:xfrm>
            <a:prstGeom prst="wedgeRectCallout">
              <a:avLst>
                <a:gd name="adj1" fmla="val -85826"/>
                <a:gd name="adj2" fmla="val -7867"/>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pic>
          <p:nvPicPr>
            <p:cNvPr id="97" name="Google Shape;97;p17">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2965919" y="-2502009"/>
              <a:ext cx="3762369" cy="3762369"/>
            </a:xfrm>
            <a:prstGeom prst="rect">
              <a:avLst/>
            </a:prstGeom>
            <a:noFill/>
            <a:ln>
              <a:noFill/>
            </a:ln>
          </p:spPr>
        </p:pic>
        <p:pic>
          <p:nvPicPr>
            <p:cNvPr id="98" name="Google Shape;98;p17">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341727" y="-2498835"/>
              <a:ext cx="3762369" cy="3762369"/>
            </a:xfrm>
            <a:prstGeom prst="rect">
              <a:avLst/>
            </a:prstGeom>
            <a:noFill/>
            <a:ln>
              <a:noFill/>
            </a:ln>
          </p:spPr>
        </p:pic>
      </p:grpSp>
      <p:sp>
        <p:nvSpPr>
          <p:cNvPr id="101" name="Google Shape;101;p1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00" name="Google Shape;100;p1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99" name="Google Shape;99;p17"/>
          <p:cNvSpPr>
            <a:spLocks noGrp="1"/>
          </p:cNvSpPr>
          <p:nvPr>
            <p:ph type="pic" idx="2"/>
          </p:nvPr>
        </p:nvSpPr>
        <p:spPr>
          <a:xfrm>
            <a:off x="3330400" y="2429890"/>
            <a:ext cx="5543376" cy="3459827"/>
          </a:xfrm>
          <a:prstGeom prst="rect">
            <a:avLst/>
          </a:prstGeom>
          <a:noFill/>
          <a:ln>
            <a:noFill/>
          </a:ln>
        </p:spPr>
        <p:txBody>
          <a:bodyPr anchor="ctr"/>
          <a:lstStyle>
            <a:lvl1pPr marL="0" indent="0" algn="ctr">
              <a:buNone/>
              <a:defRPr sz="1065" b="0" i="0">
                <a:solidFill>
                  <a:schemeClr val="tx1"/>
                </a:solidFill>
                <a:latin typeface="Helvetica" pitchFamily="2" charset="0"/>
              </a:defRPr>
            </a:lvl1pPr>
          </a:lstStyle>
          <a:p>
            <a:endParaRPr lang="en-US"/>
          </a:p>
        </p:txBody>
      </p:sp>
      <p:sp>
        <p:nvSpPr>
          <p:cNvPr id="102" name="Google Shape;102;p17"/>
          <p:cNvSpPr txBox="1">
            <a:spLocks noGrp="1"/>
          </p:cNvSpPr>
          <p:nvPr>
            <p:ph type="body" idx="3"/>
          </p:nvPr>
        </p:nvSpPr>
        <p:spPr>
          <a:xfrm>
            <a:off x="1219201" y="2677281"/>
            <a:ext cx="1633600" cy="2316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a:lnSpc>
                <a:spcPct val="100000"/>
              </a:lnSpc>
              <a:spcBef>
                <a:spcPts val="0"/>
              </a:spcBef>
              <a:spcAft>
                <a:spcPts val="0"/>
              </a:spcAft>
              <a:buSzPts val="900"/>
              <a:buChar char="○"/>
              <a:defRPr sz="1198"/>
            </a:lvl2pPr>
            <a:lvl3pPr marL="1825943" lvl="2" indent="-380405" algn="ctr">
              <a:lnSpc>
                <a:spcPct val="100000"/>
              </a:lnSpc>
              <a:spcBef>
                <a:spcPts val="0"/>
              </a:spcBef>
              <a:spcAft>
                <a:spcPts val="0"/>
              </a:spcAft>
              <a:buSzPts val="900"/>
              <a:buChar char="■"/>
              <a:defRPr sz="1198"/>
            </a:lvl3pPr>
            <a:lvl4pPr marL="2434590" lvl="3" indent="-380405" algn="ctr">
              <a:lnSpc>
                <a:spcPct val="100000"/>
              </a:lnSpc>
              <a:spcBef>
                <a:spcPts val="0"/>
              </a:spcBef>
              <a:spcAft>
                <a:spcPts val="0"/>
              </a:spcAft>
              <a:buSzPts val="900"/>
              <a:buChar char="●"/>
              <a:defRPr sz="1198"/>
            </a:lvl4pPr>
            <a:lvl5pPr marL="3043238" lvl="4" indent="-380405" algn="ctr">
              <a:lnSpc>
                <a:spcPct val="100000"/>
              </a:lnSpc>
              <a:spcBef>
                <a:spcPts val="0"/>
              </a:spcBef>
              <a:spcAft>
                <a:spcPts val="0"/>
              </a:spcAft>
              <a:buSzPts val="900"/>
              <a:buChar char="○"/>
              <a:defRPr sz="1198"/>
            </a:lvl5pPr>
            <a:lvl6pPr marL="3651885" lvl="5" indent="-380405" algn="ctr">
              <a:lnSpc>
                <a:spcPct val="100000"/>
              </a:lnSpc>
              <a:spcBef>
                <a:spcPts val="0"/>
              </a:spcBef>
              <a:spcAft>
                <a:spcPts val="0"/>
              </a:spcAft>
              <a:buSzPts val="900"/>
              <a:buChar char="■"/>
              <a:defRPr sz="1198"/>
            </a:lvl6pPr>
            <a:lvl7pPr marL="4260533" lvl="6" indent="-380405" algn="ctr">
              <a:lnSpc>
                <a:spcPct val="100000"/>
              </a:lnSpc>
              <a:spcBef>
                <a:spcPts val="0"/>
              </a:spcBef>
              <a:spcAft>
                <a:spcPts val="0"/>
              </a:spcAft>
              <a:buSzPts val="900"/>
              <a:buChar char="●"/>
              <a:defRPr sz="1198"/>
            </a:lvl7pPr>
            <a:lvl8pPr marL="4869180" lvl="7" indent="-380405" algn="ctr">
              <a:lnSpc>
                <a:spcPct val="100000"/>
              </a:lnSpc>
              <a:spcBef>
                <a:spcPts val="0"/>
              </a:spcBef>
              <a:spcAft>
                <a:spcPts val="0"/>
              </a:spcAft>
              <a:buSzPts val="900"/>
              <a:buChar char="○"/>
              <a:defRPr sz="1198"/>
            </a:lvl8pPr>
            <a:lvl9pPr marL="5477828" lvl="8" indent="-380405" algn="ctr">
              <a:lnSpc>
                <a:spcPct val="100000"/>
              </a:lnSpc>
              <a:spcBef>
                <a:spcPts val="0"/>
              </a:spcBef>
              <a:spcAft>
                <a:spcPts val="0"/>
              </a:spcAft>
              <a:buSzPts val="900"/>
              <a:buChar char="■"/>
              <a:defRPr sz="1198"/>
            </a:lvl9pPr>
          </a:lstStyle>
          <a:p>
            <a:endParaRPr/>
          </a:p>
        </p:txBody>
      </p:sp>
      <p:sp>
        <p:nvSpPr>
          <p:cNvPr id="106" name="Google Shape;106;p17"/>
          <p:cNvSpPr txBox="1">
            <a:spLocks noGrp="1"/>
          </p:cNvSpPr>
          <p:nvPr>
            <p:ph type="body" idx="7"/>
          </p:nvPr>
        </p:nvSpPr>
        <p:spPr>
          <a:xfrm>
            <a:off x="963168" y="2957698"/>
            <a:ext cx="2121600" cy="414400"/>
          </a:xfrm>
          <a:prstGeom prst="rect">
            <a:avLst/>
          </a:prstGeom>
        </p:spPr>
        <p:txBody>
          <a:bodyPr spcFirstLastPara="1" wrap="square" lIns="82275" tIns="18275" rIns="82275"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lgn="ctr">
              <a:spcBef>
                <a:spcPts val="0"/>
              </a:spcBef>
              <a:spcAft>
                <a:spcPts val="0"/>
              </a:spcAft>
              <a:buSzPts val="800"/>
              <a:buChar char="○"/>
              <a:defRPr sz="1065"/>
            </a:lvl2pPr>
            <a:lvl3pPr marL="1825943" lvl="2" indent="-371951" algn="ctr">
              <a:spcBef>
                <a:spcPts val="0"/>
              </a:spcBef>
              <a:spcAft>
                <a:spcPts val="0"/>
              </a:spcAft>
              <a:buSzPts val="800"/>
              <a:buChar char="■"/>
              <a:defRPr sz="1065"/>
            </a:lvl3pPr>
            <a:lvl4pPr marL="2434590" lvl="3" indent="-371951" algn="ctr">
              <a:spcBef>
                <a:spcPts val="0"/>
              </a:spcBef>
              <a:spcAft>
                <a:spcPts val="0"/>
              </a:spcAft>
              <a:buSzPts val="800"/>
              <a:buChar char="●"/>
              <a:defRPr sz="1065"/>
            </a:lvl4pPr>
            <a:lvl5pPr marL="3043238" lvl="4" indent="-371951" algn="ctr">
              <a:spcBef>
                <a:spcPts val="0"/>
              </a:spcBef>
              <a:spcAft>
                <a:spcPts val="0"/>
              </a:spcAft>
              <a:buSzPts val="800"/>
              <a:buChar char="○"/>
              <a:defRPr sz="1065"/>
            </a:lvl5pPr>
            <a:lvl6pPr marL="3651885" lvl="5" indent="-371951" algn="ctr">
              <a:spcBef>
                <a:spcPts val="0"/>
              </a:spcBef>
              <a:spcAft>
                <a:spcPts val="0"/>
              </a:spcAft>
              <a:buSzPts val="800"/>
              <a:buChar char="■"/>
              <a:defRPr sz="1065"/>
            </a:lvl6pPr>
            <a:lvl7pPr marL="4260533" lvl="6" indent="-371951" algn="ctr">
              <a:spcBef>
                <a:spcPts val="0"/>
              </a:spcBef>
              <a:spcAft>
                <a:spcPts val="0"/>
              </a:spcAft>
              <a:buSzPts val="800"/>
              <a:buChar char="●"/>
              <a:defRPr sz="1065"/>
            </a:lvl7pPr>
            <a:lvl8pPr marL="4869180" lvl="7" indent="-371951" algn="ctr">
              <a:spcBef>
                <a:spcPts val="0"/>
              </a:spcBef>
              <a:spcAft>
                <a:spcPts val="0"/>
              </a:spcAft>
              <a:buSzPts val="800"/>
              <a:buChar char="○"/>
              <a:defRPr sz="1065"/>
            </a:lvl8pPr>
            <a:lvl9pPr marL="5477828" lvl="8" indent="-371951" algn="ctr">
              <a:spcBef>
                <a:spcPts val="0"/>
              </a:spcBef>
              <a:spcAft>
                <a:spcPts val="0"/>
              </a:spcAft>
              <a:buSzPts val="800"/>
              <a:buChar char="■"/>
              <a:defRPr sz="1065"/>
            </a:lvl9pPr>
          </a:lstStyle>
          <a:p>
            <a:endParaRPr dirty="0"/>
          </a:p>
        </p:txBody>
      </p:sp>
      <p:sp>
        <p:nvSpPr>
          <p:cNvPr id="103" name="Google Shape;103;p17"/>
          <p:cNvSpPr txBox="1">
            <a:spLocks noGrp="1"/>
          </p:cNvSpPr>
          <p:nvPr>
            <p:ph type="body" idx="4"/>
          </p:nvPr>
        </p:nvSpPr>
        <p:spPr>
          <a:xfrm>
            <a:off x="1219201" y="429881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7" name="Google Shape;107;p17"/>
          <p:cNvSpPr txBox="1">
            <a:spLocks noGrp="1"/>
          </p:cNvSpPr>
          <p:nvPr>
            <p:ph type="body" idx="8"/>
          </p:nvPr>
        </p:nvSpPr>
        <p:spPr>
          <a:xfrm>
            <a:off x="963168" y="4579233"/>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104" name="Google Shape;104;p17"/>
          <p:cNvSpPr txBox="1">
            <a:spLocks noGrp="1"/>
          </p:cNvSpPr>
          <p:nvPr>
            <p:ph type="body" idx="5"/>
          </p:nvPr>
        </p:nvSpPr>
        <p:spPr>
          <a:xfrm>
            <a:off x="9351264" y="2680881"/>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8" name="Google Shape;108;p17"/>
          <p:cNvSpPr txBox="1">
            <a:spLocks noGrp="1"/>
          </p:cNvSpPr>
          <p:nvPr>
            <p:ph type="body" idx="9"/>
          </p:nvPr>
        </p:nvSpPr>
        <p:spPr>
          <a:xfrm>
            <a:off x="9095233" y="2969889"/>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105" name="Google Shape;105;p17"/>
          <p:cNvSpPr txBox="1">
            <a:spLocks noGrp="1"/>
          </p:cNvSpPr>
          <p:nvPr>
            <p:ph type="body" idx="6"/>
          </p:nvPr>
        </p:nvSpPr>
        <p:spPr>
          <a:xfrm>
            <a:off x="9351400" y="429881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9" name="Google Shape;109;p17"/>
          <p:cNvSpPr txBox="1">
            <a:spLocks noGrp="1"/>
          </p:cNvSpPr>
          <p:nvPr>
            <p:ph type="body" idx="13"/>
          </p:nvPr>
        </p:nvSpPr>
        <p:spPr>
          <a:xfrm>
            <a:off x="9095233" y="4591426"/>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Tree>
    <p:extLst>
      <p:ext uri="{BB962C8B-B14F-4D97-AF65-F5344CB8AC3E}">
        <p14:creationId xmlns:p14="http://schemas.microsoft.com/office/powerpoint/2010/main" val="1367680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Top-Bottom Split" preserve="1">
  <p:cSld name="Top-Bottom Split">
    <p:spTree>
      <p:nvGrpSpPr>
        <p:cNvPr id="1" name="Shape 110"/>
        <p:cNvGrpSpPr/>
        <p:nvPr/>
      </p:nvGrpSpPr>
      <p:grpSpPr>
        <a:xfrm>
          <a:off x="0" y="0"/>
          <a:ext cx="0" cy="0"/>
          <a:chOff x="0" y="0"/>
          <a:chExt cx="0" cy="0"/>
        </a:xfrm>
      </p:grpSpPr>
      <p:grpSp>
        <p:nvGrpSpPr>
          <p:cNvPr id="3" name="Group 2">
            <a:extLst>
              <a:ext uri="{FF2B5EF4-FFF2-40B4-BE49-F238E27FC236}">
                <a16:creationId xmlns:a16="http://schemas.microsoft.com/office/drawing/2014/main" id="{AE3E3842-1A1C-DFC2-C6F6-A988610AABA6}"/>
              </a:ext>
              <a:ext uri="{C183D7F6-B498-43B3-948B-1728B52AA6E4}">
                <adec:decorative xmlns:adec="http://schemas.microsoft.com/office/drawing/2017/decorative" val="1"/>
              </a:ext>
            </a:extLst>
          </p:cNvPr>
          <p:cNvGrpSpPr/>
          <p:nvPr userDrawn="1"/>
        </p:nvGrpSpPr>
        <p:grpSpPr>
          <a:xfrm>
            <a:off x="543900" y="-4209151"/>
            <a:ext cx="11648205" cy="15887968"/>
            <a:chOff x="407925" y="-3156864"/>
            <a:chExt cx="8736154" cy="11915976"/>
          </a:xfrm>
        </p:grpSpPr>
        <p:cxnSp>
          <p:nvCxnSpPr>
            <p:cNvPr id="113" name="Google Shape;113;p18">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115" name="Google Shape;115;p18">
              <a:extLst>
                <a:ext uri="{C183D7F6-B498-43B3-948B-1728B52AA6E4}">
                  <adec:decorative xmlns:adec="http://schemas.microsoft.com/office/drawing/2017/decorative" val="1"/>
                </a:ext>
              </a:extLst>
            </p:cNvPr>
            <p:cNvGrpSpPr/>
            <p:nvPr/>
          </p:nvGrpSpPr>
          <p:grpSpPr>
            <a:xfrm>
              <a:off x="4679511" y="3094843"/>
              <a:ext cx="507623" cy="506585"/>
              <a:chOff x="8210789" y="6930887"/>
              <a:chExt cx="1081200" cy="1080600"/>
            </a:xfrm>
          </p:grpSpPr>
          <p:sp>
            <p:nvSpPr>
              <p:cNvPr id="116" name="Google Shape;116;p18"/>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17" name="Google Shape;117;p18"/>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2" name="Group 1">
              <a:extLst>
                <a:ext uri="{FF2B5EF4-FFF2-40B4-BE49-F238E27FC236}">
                  <a16:creationId xmlns:a16="http://schemas.microsoft.com/office/drawing/2014/main" id="{E94EB603-8C2E-D4C8-50E5-D722D006D0A4}"/>
                </a:ext>
              </a:extLst>
            </p:cNvPr>
            <p:cNvGrpSpPr/>
            <p:nvPr userDrawn="1"/>
          </p:nvGrpSpPr>
          <p:grpSpPr>
            <a:xfrm>
              <a:off x="407925" y="-3156864"/>
              <a:ext cx="8736154" cy="11915976"/>
              <a:chOff x="407925" y="-3156864"/>
              <a:chExt cx="8736154" cy="11915976"/>
            </a:xfrm>
          </p:grpSpPr>
          <p:sp>
            <p:nvSpPr>
              <p:cNvPr id="111" name="Google Shape;111;p18">
                <a:extLst>
                  <a:ext uri="{C183D7F6-B498-43B3-948B-1728B52AA6E4}">
                    <adec:decorative xmlns:adec="http://schemas.microsoft.com/office/drawing/2017/decorative" val="1"/>
                  </a:ext>
                </a:extLst>
              </p:cNvPr>
              <p:cNvSpPr/>
              <p:nvPr/>
            </p:nvSpPr>
            <p:spPr>
              <a:xfrm>
                <a:off x="425779" y="2838193"/>
                <a:ext cx="8718300" cy="2305200"/>
              </a:xfrm>
              <a:prstGeom prst="round2SameRect">
                <a:avLst>
                  <a:gd name="adj1" fmla="val 4610"/>
                  <a:gd name="adj2" fmla="val 0"/>
                </a:avLst>
              </a:prstGeom>
              <a:gradFill>
                <a:gsLst>
                  <a:gs pos="0">
                    <a:srgbClr val="1F9CF0"/>
                  </a:gs>
                  <a:gs pos="48500">
                    <a:srgbClr val="9477E2">
                      <a:alpha val="48627"/>
                    </a:srgbClr>
                  </a:gs>
                  <a:gs pos="97000">
                    <a:srgbClr val="9477E2">
                      <a:alpha val="0"/>
                    </a:srgbClr>
                  </a:gs>
                  <a:gs pos="100000">
                    <a:srgbClr val="9477E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112" name="Google Shape;112;p1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672027" y="-3156864"/>
                <a:ext cx="3762369" cy="3762369"/>
              </a:xfrm>
              <a:prstGeom prst="rect">
                <a:avLst/>
              </a:prstGeom>
              <a:noFill/>
              <a:ln>
                <a:noFill/>
              </a:ln>
            </p:spPr>
          </p:pic>
          <p:pic>
            <p:nvPicPr>
              <p:cNvPr id="114" name="Google Shape;114;p1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672026" y="4996743"/>
                <a:ext cx="3762369" cy="3762369"/>
              </a:xfrm>
              <a:prstGeom prst="rect">
                <a:avLst/>
              </a:prstGeom>
              <a:noFill/>
              <a:ln>
                <a:noFill/>
              </a:ln>
            </p:spPr>
          </p:pic>
          <p:sp>
            <p:nvSpPr>
              <p:cNvPr id="118" name="Google Shape;118;p18">
                <a:extLst>
                  <a:ext uri="{C183D7F6-B498-43B3-948B-1728B52AA6E4}">
                    <adec:decorative xmlns:adec="http://schemas.microsoft.com/office/drawing/2017/decorative" val="1"/>
                  </a:ext>
                </a:extLst>
              </p:cNvPr>
              <p:cNvSpPr/>
              <p:nvPr/>
            </p:nvSpPr>
            <p:spPr>
              <a:xfrm rot="10800000">
                <a:off x="407925" y="325"/>
                <a:ext cx="73200" cy="22164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grpSp>
      <p:sp>
        <p:nvSpPr>
          <p:cNvPr id="119" name="Google Shape;119;p1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20" name="Google Shape;120;p18"/>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18"/>
          <p:cNvSpPr txBox="1">
            <a:spLocks noGrp="1"/>
          </p:cNvSpPr>
          <p:nvPr>
            <p:ph type="body" idx="2"/>
          </p:nvPr>
        </p:nvSpPr>
        <p:spPr>
          <a:xfrm>
            <a:off x="6230112" y="1243584"/>
            <a:ext cx="4596400" cy="1499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a:p>
        </p:txBody>
      </p:sp>
      <p:sp>
        <p:nvSpPr>
          <p:cNvPr id="122" name="Google Shape;122;p18"/>
          <p:cNvSpPr>
            <a:spLocks noGrp="1"/>
          </p:cNvSpPr>
          <p:nvPr>
            <p:ph type="pic" idx="3"/>
          </p:nvPr>
        </p:nvSpPr>
        <p:spPr>
          <a:xfrm>
            <a:off x="6409670" y="4296087"/>
            <a:ext cx="336187" cy="336187"/>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23" name="Google Shape;123;p18"/>
          <p:cNvSpPr txBox="1">
            <a:spLocks noGrp="1"/>
          </p:cNvSpPr>
          <p:nvPr>
            <p:ph type="title" idx="4"/>
          </p:nvPr>
        </p:nvSpPr>
        <p:spPr>
          <a:xfrm>
            <a:off x="7034784" y="4255008"/>
            <a:ext cx="3755200" cy="40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8"/>
          <p:cNvSpPr txBox="1">
            <a:spLocks noGrp="1"/>
          </p:cNvSpPr>
          <p:nvPr>
            <p:ph type="body" idx="5"/>
          </p:nvPr>
        </p:nvSpPr>
        <p:spPr>
          <a:xfrm>
            <a:off x="6353483" y="4974336"/>
            <a:ext cx="4424228" cy="878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Tree>
    <p:extLst>
      <p:ext uri="{BB962C8B-B14F-4D97-AF65-F5344CB8AC3E}">
        <p14:creationId xmlns:p14="http://schemas.microsoft.com/office/powerpoint/2010/main" val="385641541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Four Sections" preserve="1" userDrawn="1">
  <p:cSld name="Four Sections">
    <p:spTree>
      <p:nvGrpSpPr>
        <p:cNvPr id="1" name="Shape 125"/>
        <p:cNvGrpSpPr/>
        <p:nvPr/>
      </p:nvGrpSpPr>
      <p:grpSpPr>
        <a:xfrm>
          <a:off x="0" y="0"/>
          <a:ext cx="0" cy="0"/>
          <a:chOff x="0" y="0"/>
          <a:chExt cx="0" cy="0"/>
        </a:xfrm>
      </p:grpSpPr>
      <p:sp>
        <p:nvSpPr>
          <p:cNvPr id="151" name="Google Shape;151;p19"/>
          <p:cNvSpPr txBox="1">
            <a:spLocks noGrp="1"/>
          </p:cNvSpPr>
          <p:nvPr>
            <p:ph type="title" idx="15"/>
          </p:nvPr>
        </p:nvSpPr>
        <p:spPr>
          <a:xfrm>
            <a:off x="558001" y="304769"/>
            <a:ext cx="11136159" cy="713523"/>
          </a:xfrm>
          <a:prstGeom prst="rect">
            <a:avLst/>
          </a:prstGeom>
        </p:spPr>
        <p:txBody>
          <a:bodyPr spcFirstLastPara="1" wrap="square" lIns="0" tIns="18275" rIns="0" bIns="18275" anchor="t" anchorCtr="0">
            <a:noAutofit/>
          </a:bodyPr>
          <a:lstStyle>
            <a:lvl1pPr lvl="0" rtl="0">
              <a:lnSpc>
                <a:spcPct val="100000"/>
              </a:lnSpc>
              <a:spcBef>
                <a:spcPts val="0"/>
              </a:spcBef>
              <a:spcAft>
                <a:spcPts val="0"/>
              </a:spcAft>
              <a:buSzPts val="2300"/>
              <a:buNone/>
              <a:defRPr sz="3195"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29" name="Google Shape;129;p19"/>
          <p:cNvSpPr>
            <a:spLocks noGrp="1"/>
          </p:cNvSpPr>
          <p:nvPr>
            <p:ph type="pic" idx="5"/>
          </p:nvPr>
        </p:nvSpPr>
        <p:spPr>
          <a:xfrm>
            <a:off x="0" y="1110227"/>
            <a:ext cx="3043600" cy="1853184"/>
          </a:xfrm>
          <a:prstGeom prst="rect">
            <a:avLst/>
          </a:prstGeom>
          <a:noFill/>
          <a:ln>
            <a:noFill/>
          </a:ln>
        </p:spPr>
        <p:txBody>
          <a:bodyPr anchor="ctr"/>
          <a:lstStyle>
            <a:lvl1pPr marL="0" indent="0" algn="ctr">
              <a:buNone/>
              <a:defRPr b="0" i="0">
                <a:latin typeface="Helvetica" pitchFamily="2" charset="0"/>
              </a:defRPr>
            </a:lvl1pPr>
          </a:lstStyle>
          <a:p>
            <a:endParaRPr lang="en-US"/>
          </a:p>
        </p:txBody>
      </p:sp>
      <p:grpSp>
        <p:nvGrpSpPr>
          <p:cNvPr id="5" name="Group 4">
            <a:extLst>
              <a:ext uri="{FF2B5EF4-FFF2-40B4-BE49-F238E27FC236}">
                <a16:creationId xmlns:a16="http://schemas.microsoft.com/office/drawing/2014/main" id="{C6D0AEF3-20C9-E36E-10B3-45993C86AF77}"/>
              </a:ext>
              <a:ext uri="{C183D7F6-B498-43B3-948B-1728B52AA6E4}">
                <adec:decorative xmlns:adec="http://schemas.microsoft.com/office/drawing/2017/decorative" val="1"/>
              </a:ext>
            </a:extLst>
          </p:cNvPr>
          <p:cNvGrpSpPr/>
          <p:nvPr userDrawn="1"/>
        </p:nvGrpSpPr>
        <p:grpSpPr>
          <a:xfrm>
            <a:off x="0" y="2504317"/>
            <a:ext cx="3048000" cy="2291203"/>
            <a:chOff x="0" y="1878238"/>
            <a:chExt cx="2286000" cy="1718402"/>
          </a:xfrm>
        </p:grpSpPr>
        <p:sp>
          <p:nvSpPr>
            <p:cNvPr id="133" name="Google Shape;133;p19">
              <a:extLst>
                <a:ext uri="{C183D7F6-B498-43B3-948B-1728B52AA6E4}">
                  <adec:decorative xmlns:adec="http://schemas.microsoft.com/office/drawing/2017/decorative" val="1"/>
                </a:ext>
              </a:extLst>
            </p:cNvPr>
            <p:cNvSpPr/>
            <p:nvPr/>
          </p:nvSpPr>
          <p:spPr>
            <a:xfrm>
              <a:off x="0" y="2231132"/>
              <a:ext cx="2286000" cy="1365508"/>
            </a:xfrm>
            <a:prstGeom prst="rect">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 name="Google Shape;115;p18">
              <a:extLst>
                <a:ext uri="{FF2B5EF4-FFF2-40B4-BE49-F238E27FC236}">
                  <a16:creationId xmlns:a16="http://schemas.microsoft.com/office/drawing/2014/main" id="{2CABBAFB-D7E4-4946-8936-326967B61E08}"/>
                </a:ext>
                <a:ext uri="{C183D7F6-B498-43B3-948B-1728B52AA6E4}">
                  <adec:decorative xmlns:adec="http://schemas.microsoft.com/office/drawing/2017/decorative" val="1"/>
                </a:ext>
              </a:extLst>
            </p:cNvPr>
            <p:cNvGrpSpPr/>
            <p:nvPr userDrawn="1"/>
          </p:nvGrpSpPr>
          <p:grpSpPr>
            <a:xfrm>
              <a:off x="725202" y="1878238"/>
              <a:ext cx="720446" cy="718973"/>
              <a:chOff x="8210789" y="6930887"/>
              <a:chExt cx="1081200" cy="1080600"/>
            </a:xfrm>
          </p:grpSpPr>
          <p:sp>
            <p:nvSpPr>
              <p:cNvPr id="40" name="Google Shape;116;p18">
                <a:extLst>
                  <a:ext uri="{FF2B5EF4-FFF2-40B4-BE49-F238E27FC236}">
                    <a16:creationId xmlns:a16="http://schemas.microsoft.com/office/drawing/2014/main" id="{927C82E0-53EB-9E40-B93B-79D8C7C49530}"/>
                  </a:ext>
                </a:extLst>
              </p:cNvPr>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1" name="Google Shape;117;p18">
                <a:extLst>
                  <a:ext uri="{FF2B5EF4-FFF2-40B4-BE49-F238E27FC236}">
                    <a16:creationId xmlns:a16="http://schemas.microsoft.com/office/drawing/2014/main" id="{33518440-89C6-C546-AC7B-32EBE9911FC2}"/>
                  </a:ext>
                </a:extLst>
              </p:cNvPr>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sp>
        <p:nvSpPr>
          <p:cNvPr id="42" name="Google Shape;122;p18">
            <a:extLst>
              <a:ext uri="{FF2B5EF4-FFF2-40B4-BE49-F238E27FC236}">
                <a16:creationId xmlns:a16="http://schemas.microsoft.com/office/drawing/2014/main" id="{770EE0F9-203B-9148-A3BA-831953FEF71D}"/>
              </a:ext>
            </a:extLst>
          </p:cNvPr>
          <p:cNvSpPr>
            <a:spLocks noGrp="1"/>
          </p:cNvSpPr>
          <p:nvPr>
            <p:ph type="pic" idx="23"/>
          </p:nvPr>
        </p:nvSpPr>
        <p:spPr>
          <a:xfrm>
            <a:off x="1208668" y="2745067"/>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48" name="Google Shape;148;p19"/>
          <p:cNvSpPr txBox="1">
            <a:spLocks noGrp="1"/>
          </p:cNvSpPr>
          <p:nvPr>
            <p:ph type="body" idx="1"/>
          </p:nvPr>
        </p:nvSpPr>
        <p:spPr>
          <a:xfrm>
            <a:off x="451104" y="3472990"/>
            <a:ext cx="1670400" cy="319524"/>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
        <p:nvSpPr>
          <p:cNvPr id="149" name="Google Shape;149;p19"/>
          <p:cNvSpPr txBox="1">
            <a:spLocks noGrp="1"/>
          </p:cNvSpPr>
          <p:nvPr>
            <p:ph type="body" idx="13"/>
          </p:nvPr>
        </p:nvSpPr>
        <p:spPr>
          <a:xfrm>
            <a:off x="451104" y="3778676"/>
            <a:ext cx="2255600" cy="924911"/>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grpSp>
        <p:nvGrpSpPr>
          <p:cNvPr id="6" name="Group 5">
            <a:extLst>
              <a:ext uri="{FF2B5EF4-FFF2-40B4-BE49-F238E27FC236}">
                <a16:creationId xmlns:a16="http://schemas.microsoft.com/office/drawing/2014/main" id="{7F7888B4-45D0-5024-C25B-EFA6D164CE21}"/>
              </a:ext>
              <a:ext uri="{C183D7F6-B498-43B3-948B-1728B52AA6E4}">
                <adec:decorative xmlns:adec="http://schemas.microsoft.com/office/drawing/2017/decorative" val="1"/>
              </a:ext>
            </a:extLst>
          </p:cNvPr>
          <p:cNvGrpSpPr/>
          <p:nvPr userDrawn="1"/>
        </p:nvGrpSpPr>
        <p:grpSpPr>
          <a:xfrm>
            <a:off x="3043534" y="2502357"/>
            <a:ext cx="3048000" cy="2293163"/>
            <a:chOff x="2282650" y="1876768"/>
            <a:chExt cx="2286000" cy="1719872"/>
          </a:xfrm>
        </p:grpSpPr>
        <p:sp>
          <p:nvSpPr>
            <p:cNvPr id="132" name="Google Shape;132;p19">
              <a:extLst>
                <a:ext uri="{C183D7F6-B498-43B3-948B-1728B52AA6E4}">
                  <adec:decorative xmlns:adec="http://schemas.microsoft.com/office/drawing/2017/decorative" val="1"/>
                </a:ext>
              </a:extLst>
            </p:cNvPr>
            <p:cNvSpPr/>
            <p:nvPr/>
          </p:nvSpPr>
          <p:spPr>
            <a:xfrm>
              <a:off x="2282650" y="2231132"/>
              <a:ext cx="2286000" cy="1365508"/>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2" name="Group 1">
              <a:extLst>
                <a:ext uri="{FF2B5EF4-FFF2-40B4-BE49-F238E27FC236}">
                  <a16:creationId xmlns:a16="http://schemas.microsoft.com/office/drawing/2014/main" id="{80DF5EDE-E7F7-6146-AC08-AF61888173CC}"/>
                </a:ext>
                <a:ext uri="{C183D7F6-B498-43B3-948B-1728B52AA6E4}">
                  <adec:decorative xmlns:adec="http://schemas.microsoft.com/office/drawing/2017/decorative" val="1"/>
                </a:ext>
              </a:extLst>
            </p:cNvPr>
            <p:cNvGrpSpPr/>
            <p:nvPr userDrawn="1"/>
          </p:nvGrpSpPr>
          <p:grpSpPr>
            <a:xfrm>
              <a:off x="3068238" y="1876768"/>
              <a:ext cx="720300" cy="719400"/>
              <a:chOff x="3068238" y="1382291"/>
              <a:chExt cx="720300" cy="719400"/>
            </a:xfrm>
          </p:grpSpPr>
          <p:sp>
            <p:nvSpPr>
              <p:cNvPr id="134" name="Google Shape;134;p19"/>
              <p:cNvSpPr/>
              <p:nvPr/>
            </p:nvSpPr>
            <p:spPr>
              <a:xfrm>
                <a:off x="3068238"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sp>
            <p:nvSpPr>
              <p:cNvPr id="135" name="Google Shape;135;p19"/>
              <p:cNvSpPr/>
              <p:nvPr userDrawn="1"/>
            </p:nvSpPr>
            <p:spPr>
              <a:xfrm>
                <a:off x="3190019"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grpSp>
      </p:grpSp>
      <p:grpSp>
        <p:nvGrpSpPr>
          <p:cNvPr id="7" name="Group 6">
            <a:extLst>
              <a:ext uri="{FF2B5EF4-FFF2-40B4-BE49-F238E27FC236}">
                <a16:creationId xmlns:a16="http://schemas.microsoft.com/office/drawing/2014/main" id="{B258C728-B08C-223E-4D1B-66EB88D64B9F}"/>
              </a:ext>
              <a:ext uri="{C183D7F6-B498-43B3-948B-1728B52AA6E4}">
                <adec:decorative xmlns:adec="http://schemas.microsoft.com/office/drawing/2017/decorative" val="1"/>
              </a:ext>
            </a:extLst>
          </p:cNvPr>
          <p:cNvGrpSpPr/>
          <p:nvPr userDrawn="1"/>
        </p:nvGrpSpPr>
        <p:grpSpPr>
          <a:xfrm>
            <a:off x="6090910" y="2502357"/>
            <a:ext cx="3048000" cy="2293163"/>
            <a:chOff x="4568183" y="1876768"/>
            <a:chExt cx="2286000" cy="1719872"/>
          </a:xfrm>
        </p:grpSpPr>
        <p:sp>
          <p:nvSpPr>
            <p:cNvPr id="131" name="Google Shape;131;p19">
              <a:extLst>
                <a:ext uri="{C183D7F6-B498-43B3-948B-1728B52AA6E4}">
                  <adec:decorative xmlns:adec="http://schemas.microsoft.com/office/drawing/2017/decorative" val="1"/>
                </a:ext>
              </a:extLst>
            </p:cNvPr>
            <p:cNvSpPr/>
            <p:nvPr/>
          </p:nvSpPr>
          <p:spPr>
            <a:xfrm>
              <a:off x="4568183" y="2231132"/>
              <a:ext cx="2286000" cy="1365508"/>
            </a:xfrm>
            <a:prstGeom prst="rect">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 name="Group 2">
              <a:extLst>
                <a:ext uri="{FF2B5EF4-FFF2-40B4-BE49-F238E27FC236}">
                  <a16:creationId xmlns:a16="http://schemas.microsoft.com/office/drawing/2014/main" id="{62153F02-68F3-1F42-A78B-072046ECEDD4}"/>
                </a:ext>
                <a:ext uri="{C183D7F6-B498-43B3-948B-1728B52AA6E4}">
                  <adec:decorative xmlns:adec="http://schemas.microsoft.com/office/drawing/2017/decorative" val="1"/>
                </a:ext>
              </a:extLst>
            </p:cNvPr>
            <p:cNvGrpSpPr/>
            <p:nvPr userDrawn="1"/>
          </p:nvGrpSpPr>
          <p:grpSpPr>
            <a:xfrm>
              <a:off x="5357600" y="1876768"/>
              <a:ext cx="720300" cy="719400"/>
              <a:chOff x="5357600" y="1382291"/>
              <a:chExt cx="720300" cy="719400"/>
            </a:xfrm>
          </p:grpSpPr>
          <p:sp>
            <p:nvSpPr>
              <p:cNvPr id="138" name="Google Shape;138;p19"/>
              <p:cNvSpPr/>
              <p:nvPr/>
            </p:nvSpPr>
            <p:spPr>
              <a:xfrm>
                <a:off x="535760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dirty="0">
                  <a:solidFill>
                    <a:schemeClr val="lt1"/>
                  </a:solidFill>
                  <a:latin typeface="Helvetica" pitchFamily="2" charset="0"/>
                  <a:ea typeface="Calibri"/>
                  <a:cs typeface="Calibri"/>
                  <a:sym typeface="Calibri"/>
                </a:endParaRPr>
              </a:p>
            </p:txBody>
          </p:sp>
          <p:sp>
            <p:nvSpPr>
              <p:cNvPr id="139" name="Google Shape;139;p19"/>
              <p:cNvSpPr/>
              <p:nvPr/>
            </p:nvSpPr>
            <p:spPr>
              <a:xfrm>
                <a:off x="5479381"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grpSp>
        <p:nvGrpSpPr>
          <p:cNvPr id="8" name="Group 7">
            <a:extLst>
              <a:ext uri="{FF2B5EF4-FFF2-40B4-BE49-F238E27FC236}">
                <a16:creationId xmlns:a16="http://schemas.microsoft.com/office/drawing/2014/main" id="{4722DEE5-5AA0-E252-08EF-A18B4CD34D13}"/>
              </a:ext>
              <a:ext uri="{C183D7F6-B498-43B3-948B-1728B52AA6E4}">
                <adec:decorative xmlns:adec="http://schemas.microsoft.com/office/drawing/2017/decorative" val="1"/>
              </a:ext>
            </a:extLst>
          </p:cNvPr>
          <p:cNvGrpSpPr/>
          <p:nvPr userDrawn="1"/>
        </p:nvGrpSpPr>
        <p:grpSpPr>
          <a:xfrm>
            <a:off x="9143381" y="2502357"/>
            <a:ext cx="3048000" cy="2293163"/>
            <a:chOff x="6857536" y="1876768"/>
            <a:chExt cx="2286000" cy="1719872"/>
          </a:xfrm>
        </p:grpSpPr>
        <p:sp>
          <p:nvSpPr>
            <p:cNvPr id="130" name="Google Shape;130;p19">
              <a:extLst>
                <a:ext uri="{C183D7F6-B498-43B3-948B-1728B52AA6E4}">
                  <adec:decorative xmlns:adec="http://schemas.microsoft.com/office/drawing/2017/decorative" val="1"/>
                </a:ext>
              </a:extLst>
            </p:cNvPr>
            <p:cNvSpPr/>
            <p:nvPr/>
          </p:nvSpPr>
          <p:spPr>
            <a:xfrm>
              <a:off x="6857536" y="2231132"/>
              <a:ext cx="2286000" cy="1365508"/>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 name="Group 3">
              <a:extLst>
                <a:ext uri="{FF2B5EF4-FFF2-40B4-BE49-F238E27FC236}">
                  <a16:creationId xmlns:a16="http://schemas.microsoft.com/office/drawing/2014/main" id="{0E2775DA-4DCB-AD4E-B04F-182EF29AE8A8}"/>
                </a:ext>
                <a:ext uri="{C183D7F6-B498-43B3-948B-1728B52AA6E4}">
                  <adec:decorative xmlns:adec="http://schemas.microsoft.com/office/drawing/2017/decorative" val="1"/>
                </a:ext>
              </a:extLst>
            </p:cNvPr>
            <p:cNvGrpSpPr/>
            <p:nvPr userDrawn="1"/>
          </p:nvGrpSpPr>
          <p:grpSpPr>
            <a:xfrm>
              <a:off x="7645560" y="1876768"/>
              <a:ext cx="720300" cy="719400"/>
              <a:chOff x="7645560" y="1382291"/>
              <a:chExt cx="720300" cy="719400"/>
            </a:xfrm>
          </p:grpSpPr>
          <p:sp>
            <p:nvSpPr>
              <p:cNvPr id="136" name="Google Shape;136;p19"/>
              <p:cNvSpPr/>
              <p:nvPr/>
            </p:nvSpPr>
            <p:spPr>
              <a:xfrm>
                <a:off x="764556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sp>
            <p:nvSpPr>
              <p:cNvPr id="137" name="Google Shape;137;p19"/>
              <p:cNvSpPr/>
              <p:nvPr/>
            </p:nvSpPr>
            <p:spPr>
              <a:xfrm>
                <a:off x="7767340"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grpSp>
      </p:grpSp>
      <p:sp>
        <p:nvSpPr>
          <p:cNvPr id="48" name="Google Shape;122;p18">
            <a:extLst>
              <a:ext uri="{FF2B5EF4-FFF2-40B4-BE49-F238E27FC236}">
                <a16:creationId xmlns:a16="http://schemas.microsoft.com/office/drawing/2014/main" id="{257D24F3-611A-FCC2-A794-C0EA49B74D6D}"/>
              </a:ext>
            </a:extLst>
          </p:cNvPr>
          <p:cNvSpPr>
            <a:spLocks noGrp="1"/>
          </p:cNvSpPr>
          <p:nvPr>
            <p:ph type="pic" idx="30"/>
          </p:nvPr>
        </p:nvSpPr>
        <p:spPr>
          <a:xfrm>
            <a:off x="4328966" y="2745067"/>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53" name="Google Shape;153;p19"/>
          <p:cNvSpPr txBox="1">
            <a:spLocks noGrp="1"/>
          </p:cNvSpPr>
          <p:nvPr>
            <p:ph type="body" idx="17"/>
          </p:nvPr>
        </p:nvSpPr>
        <p:spPr>
          <a:xfrm>
            <a:off x="3596637"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lnSpc>
                <a:spcPct val="100000"/>
              </a:lnSpc>
              <a:spcBef>
                <a:spcPts val="0"/>
              </a:spcBef>
              <a:spcAft>
                <a:spcPts val="0"/>
              </a:spcAft>
              <a:buSzPts val="800"/>
              <a:buChar char="○"/>
              <a:defRPr sz="1065"/>
            </a:lvl2pPr>
            <a:lvl3pPr marL="1825943" lvl="2" indent="-371951" rtl="0">
              <a:lnSpc>
                <a:spcPct val="100000"/>
              </a:lnSpc>
              <a:spcBef>
                <a:spcPts val="0"/>
              </a:spcBef>
              <a:spcAft>
                <a:spcPts val="0"/>
              </a:spcAft>
              <a:buSzPts val="800"/>
              <a:buChar char="■"/>
              <a:defRPr sz="1065"/>
            </a:lvl3pPr>
            <a:lvl4pPr marL="2434590" lvl="3" indent="-371951" rtl="0">
              <a:lnSpc>
                <a:spcPct val="100000"/>
              </a:lnSpc>
              <a:spcBef>
                <a:spcPts val="0"/>
              </a:spcBef>
              <a:spcAft>
                <a:spcPts val="0"/>
              </a:spcAft>
              <a:buSzPts val="800"/>
              <a:buChar char="●"/>
              <a:defRPr sz="1065"/>
            </a:lvl4pPr>
            <a:lvl5pPr marL="3043238" lvl="4" indent="-371951" rtl="0">
              <a:lnSpc>
                <a:spcPct val="100000"/>
              </a:lnSpc>
              <a:spcBef>
                <a:spcPts val="0"/>
              </a:spcBef>
              <a:spcAft>
                <a:spcPts val="0"/>
              </a:spcAft>
              <a:buSzPts val="800"/>
              <a:buChar char="○"/>
              <a:defRPr sz="1065"/>
            </a:lvl5pPr>
            <a:lvl6pPr marL="3651885" lvl="5" indent="-371951" rtl="0">
              <a:lnSpc>
                <a:spcPct val="100000"/>
              </a:lnSpc>
              <a:spcBef>
                <a:spcPts val="0"/>
              </a:spcBef>
              <a:spcAft>
                <a:spcPts val="0"/>
              </a:spcAft>
              <a:buSzPts val="800"/>
              <a:buChar char="■"/>
              <a:defRPr sz="1065"/>
            </a:lvl6pPr>
            <a:lvl7pPr marL="4260533" lvl="6" indent="-371951" rtl="0">
              <a:lnSpc>
                <a:spcPct val="100000"/>
              </a:lnSpc>
              <a:spcBef>
                <a:spcPts val="0"/>
              </a:spcBef>
              <a:spcAft>
                <a:spcPts val="0"/>
              </a:spcAft>
              <a:buSzPts val="800"/>
              <a:buChar char="●"/>
              <a:defRPr sz="1065"/>
            </a:lvl7pPr>
            <a:lvl8pPr marL="4869180" lvl="7" indent="-371951" rtl="0">
              <a:lnSpc>
                <a:spcPct val="100000"/>
              </a:lnSpc>
              <a:spcBef>
                <a:spcPts val="0"/>
              </a:spcBef>
              <a:spcAft>
                <a:spcPts val="0"/>
              </a:spcAft>
              <a:buSzPts val="800"/>
              <a:buChar char="○"/>
              <a:defRPr sz="1065"/>
            </a:lvl8pPr>
            <a:lvl9pPr marL="5477828" lvl="8" indent="-371951" rtl="0">
              <a:lnSpc>
                <a:spcPct val="100000"/>
              </a:lnSpc>
              <a:spcBef>
                <a:spcPts val="0"/>
              </a:spcBef>
              <a:spcAft>
                <a:spcPts val="0"/>
              </a:spcAft>
              <a:buSzPts val="800"/>
              <a:buChar char="■"/>
              <a:defRPr sz="1065"/>
            </a:lvl9pPr>
          </a:lstStyle>
          <a:p>
            <a:endParaRPr dirty="0"/>
          </a:p>
        </p:txBody>
      </p:sp>
      <p:sp>
        <p:nvSpPr>
          <p:cNvPr id="154" name="Google Shape;154;p19"/>
          <p:cNvSpPr txBox="1">
            <a:spLocks noGrp="1"/>
          </p:cNvSpPr>
          <p:nvPr>
            <p:ph type="body" idx="18"/>
          </p:nvPr>
        </p:nvSpPr>
        <p:spPr>
          <a:xfrm>
            <a:off x="3596637"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2" name="Google Shape;129;p19">
            <a:extLst>
              <a:ext uri="{FF2B5EF4-FFF2-40B4-BE49-F238E27FC236}">
                <a16:creationId xmlns:a16="http://schemas.microsoft.com/office/drawing/2014/main" id="{183614BC-81FB-DD41-94B5-38C9366C2FD7}"/>
              </a:ext>
            </a:extLst>
          </p:cNvPr>
          <p:cNvSpPr>
            <a:spLocks noGrp="1"/>
          </p:cNvSpPr>
          <p:nvPr>
            <p:ph type="pic" idx="28"/>
          </p:nvPr>
        </p:nvSpPr>
        <p:spPr>
          <a:xfrm>
            <a:off x="3043533" y="5000075"/>
            <a:ext cx="3043600" cy="1857926"/>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
        <p:nvSpPr>
          <p:cNvPr id="51" name="Google Shape;129;p19">
            <a:extLst>
              <a:ext uri="{FF2B5EF4-FFF2-40B4-BE49-F238E27FC236}">
                <a16:creationId xmlns:a16="http://schemas.microsoft.com/office/drawing/2014/main" id="{D02644DB-3AB0-6A40-906C-1B97F6BB74DF}"/>
              </a:ext>
            </a:extLst>
          </p:cNvPr>
          <p:cNvSpPr>
            <a:spLocks noGrp="1"/>
          </p:cNvSpPr>
          <p:nvPr>
            <p:ph type="pic" idx="27"/>
          </p:nvPr>
        </p:nvSpPr>
        <p:spPr>
          <a:xfrm>
            <a:off x="6090911" y="1110227"/>
            <a:ext cx="3043600" cy="1853184"/>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
        <p:nvSpPr>
          <p:cNvPr id="49" name="Google Shape;122;p18">
            <a:extLst>
              <a:ext uri="{FF2B5EF4-FFF2-40B4-BE49-F238E27FC236}">
                <a16:creationId xmlns:a16="http://schemas.microsoft.com/office/drawing/2014/main" id="{8125D358-82E1-5146-9868-59151E4787F5}"/>
              </a:ext>
            </a:extLst>
          </p:cNvPr>
          <p:cNvSpPr>
            <a:spLocks noGrp="1"/>
          </p:cNvSpPr>
          <p:nvPr>
            <p:ph type="pic" idx="25"/>
          </p:nvPr>
        </p:nvSpPr>
        <p:spPr>
          <a:xfrm>
            <a:off x="7385101" y="274339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55" name="Google Shape;155;p19"/>
          <p:cNvSpPr txBox="1">
            <a:spLocks noGrp="1"/>
          </p:cNvSpPr>
          <p:nvPr>
            <p:ph type="body" idx="19"/>
          </p:nvPr>
        </p:nvSpPr>
        <p:spPr>
          <a:xfrm>
            <a:off x="6547104"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56" name="Google Shape;156;p19"/>
          <p:cNvSpPr txBox="1">
            <a:spLocks noGrp="1"/>
          </p:cNvSpPr>
          <p:nvPr>
            <p:ph type="body" idx="20"/>
          </p:nvPr>
        </p:nvSpPr>
        <p:spPr>
          <a:xfrm>
            <a:off x="6547104"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0" name="Google Shape;122;p18">
            <a:extLst>
              <a:ext uri="{FF2B5EF4-FFF2-40B4-BE49-F238E27FC236}">
                <a16:creationId xmlns:a16="http://schemas.microsoft.com/office/drawing/2014/main" id="{D612543C-1131-2740-B754-942B3C674732}"/>
              </a:ext>
            </a:extLst>
          </p:cNvPr>
          <p:cNvSpPr>
            <a:spLocks noGrp="1"/>
          </p:cNvSpPr>
          <p:nvPr>
            <p:ph type="pic" idx="26"/>
          </p:nvPr>
        </p:nvSpPr>
        <p:spPr>
          <a:xfrm>
            <a:off x="10435714" y="274339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57" name="Google Shape;157;p19"/>
          <p:cNvSpPr txBox="1">
            <a:spLocks noGrp="1"/>
          </p:cNvSpPr>
          <p:nvPr>
            <p:ph type="body" idx="21"/>
          </p:nvPr>
        </p:nvSpPr>
        <p:spPr>
          <a:xfrm>
            <a:off x="9595104"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58" name="Google Shape;158;p19"/>
          <p:cNvSpPr txBox="1">
            <a:spLocks noGrp="1"/>
          </p:cNvSpPr>
          <p:nvPr>
            <p:ph type="body" idx="22"/>
          </p:nvPr>
        </p:nvSpPr>
        <p:spPr>
          <a:xfrm>
            <a:off x="9595104"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 name="Google Shape;129;p19">
            <a:extLst>
              <a:ext uri="{FF2B5EF4-FFF2-40B4-BE49-F238E27FC236}">
                <a16:creationId xmlns:a16="http://schemas.microsoft.com/office/drawing/2014/main" id="{DE9CF3D8-208C-EF41-A2C5-9CB01676BFCD}"/>
              </a:ext>
            </a:extLst>
          </p:cNvPr>
          <p:cNvSpPr>
            <a:spLocks noGrp="1"/>
          </p:cNvSpPr>
          <p:nvPr>
            <p:ph type="pic" idx="29"/>
          </p:nvPr>
        </p:nvSpPr>
        <p:spPr>
          <a:xfrm>
            <a:off x="9147781" y="5000075"/>
            <a:ext cx="3043600" cy="1857926"/>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Tree>
    <p:extLst>
      <p:ext uri="{BB962C8B-B14F-4D97-AF65-F5344CB8AC3E}">
        <p14:creationId xmlns:p14="http://schemas.microsoft.com/office/powerpoint/2010/main" val="2607573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Tri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561E4086-C3F0-04BD-CE4A-65EB1DA1C581}"/>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1" name="Text Placeholder 4">
            <a:extLst>
              <a:ext uri="{FF2B5EF4-FFF2-40B4-BE49-F238E27FC236}">
                <a16:creationId xmlns:a16="http://schemas.microsoft.com/office/drawing/2014/main" id="{9D00ECC6-76CF-D27F-DB49-A2E81E9B8F3D}"/>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04819613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Three Features" preserve="1" userDrawn="1">
  <p:cSld name="Three Features">
    <p:spTree>
      <p:nvGrpSpPr>
        <p:cNvPr id="1" name="Shape 159"/>
        <p:cNvGrpSpPr/>
        <p:nvPr/>
      </p:nvGrpSpPr>
      <p:grpSpPr>
        <a:xfrm>
          <a:off x="0" y="0"/>
          <a:ext cx="0" cy="0"/>
          <a:chOff x="0" y="0"/>
          <a:chExt cx="0" cy="0"/>
        </a:xfrm>
      </p:grpSpPr>
      <p:grpSp>
        <p:nvGrpSpPr>
          <p:cNvPr id="3" name="Group 2">
            <a:extLst>
              <a:ext uri="{FF2B5EF4-FFF2-40B4-BE49-F238E27FC236}">
                <a16:creationId xmlns:a16="http://schemas.microsoft.com/office/drawing/2014/main" id="{713EB9D9-6A50-217C-4FBA-3F7BF6C6CB74}"/>
              </a:ext>
              <a:ext uri="{C183D7F6-B498-43B3-948B-1728B52AA6E4}">
                <adec:decorative xmlns:adec="http://schemas.microsoft.com/office/drawing/2017/decorative" val="1"/>
              </a:ext>
            </a:extLst>
          </p:cNvPr>
          <p:cNvGrpSpPr/>
          <p:nvPr userDrawn="1"/>
        </p:nvGrpSpPr>
        <p:grpSpPr>
          <a:xfrm>
            <a:off x="1" y="-1396268"/>
            <a:ext cx="12381658" cy="8254440"/>
            <a:chOff x="0" y="-1047201"/>
            <a:chExt cx="9286243" cy="6190830"/>
          </a:xfrm>
        </p:grpSpPr>
        <p:cxnSp>
          <p:nvCxnSpPr>
            <p:cNvPr id="177" name="Google Shape;177;p20">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E55E3903-7657-27AD-96AA-DB6E07D9B62F}"/>
                </a:ext>
              </a:extLst>
            </p:cNvPr>
            <p:cNvGrpSpPr/>
            <p:nvPr userDrawn="1"/>
          </p:nvGrpSpPr>
          <p:grpSpPr>
            <a:xfrm>
              <a:off x="0" y="-1047201"/>
              <a:ext cx="9286243" cy="6190830"/>
              <a:chOff x="0" y="-1047201"/>
              <a:chExt cx="9286243" cy="6190830"/>
            </a:xfrm>
          </p:grpSpPr>
          <p:pic>
            <p:nvPicPr>
              <p:cNvPr id="160" name="Google Shape;160;p2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523874" y="-1047201"/>
                <a:ext cx="3762369" cy="3762369"/>
              </a:xfrm>
              <a:prstGeom prst="rect">
                <a:avLst/>
              </a:prstGeom>
              <a:noFill/>
              <a:ln>
                <a:noFill/>
              </a:ln>
            </p:spPr>
          </p:pic>
          <p:sp>
            <p:nvSpPr>
              <p:cNvPr id="161" name="Google Shape;161;p20">
                <a:extLst>
                  <a:ext uri="{C183D7F6-B498-43B3-948B-1728B52AA6E4}">
                    <adec:decorative xmlns:adec="http://schemas.microsoft.com/office/drawing/2017/decorative" val="1"/>
                  </a:ext>
                </a:extLst>
              </p:cNvPr>
              <p:cNvSpPr/>
              <p:nvPr/>
            </p:nvSpPr>
            <p:spPr>
              <a:xfrm>
                <a:off x="0" y="3028029"/>
                <a:ext cx="3048000" cy="2115600"/>
              </a:xfrm>
              <a:prstGeom prst="rect">
                <a:avLst/>
              </a:prstGeom>
              <a:gradFill>
                <a:gsLst>
                  <a:gs pos="0">
                    <a:srgbClr val="1F9CF0"/>
                  </a:gs>
                  <a:gs pos="200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2" name="Google Shape;162;p20">
                <a:extLst>
                  <a:ext uri="{C183D7F6-B498-43B3-948B-1728B52AA6E4}">
                    <adec:decorative xmlns:adec="http://schemas.microsoft.com/office/drawing/2017/decorative" val="1"/>
                  </a:ext>
                </a:extLst>
              </p:cNvPr>
              <p:cNvSpPr/>
              <p:nvPr/>
            </p:nvSpPr>
            <p:spPr>
              <a:xfrm>
                <a:off x="3048002" y="3028029"/>
                <a:ext cx="3048000" cy="2115600"/>
              </a:xfrm>
              <a:prstGeom prst="rect">
                <a:avLst/>
              </a:prstGeom>
              <a:gradFill>
                <a:gsLst>
                  <a:gs pos="0">
                    <a:srgbClr val="9477E2">
                      <a:alpha val="20000"/>
                    </a:srgbClr>
                  </a:gs>
                  <a:gs pos="200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3" name="Google Shape;163;p20">
                <a:extLst>
                  <a:ext uri="{C183D7F6-B498-43B3-948B-1728B52AA6E4}">
                    <adec:decorative xmlns:adec="http://schemas.microsoft.com/office/drawing/2017/decorative" val="1"/>
                  </a:ext>
                </a:extLst>
              </p:cNvPr>
              <p:cNvSpPr/>
              <p:nvPr/>
            </p:nvSpPr>
            <p:spPr>
              <a:xfrm>
                <a:off x="6096004" y="3028029"/>
                <a:ext cx="3048000" cy="2115600"/>
              </a:xfrm>
              <a:prstGeom prst="rect">
                <a:avLst/>
              </a:prstGeom>
              <a:gradFill>
                <a:gsLst>
                  <a:gs pos="0">
                    <a:srgbClr val="352559"/>
                  </a:gs>
                  <a:gs pos="2000">
                    <a:srgbClr val="352559"/>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164" name="Google Shape;164;p20">
                <a:extLst>
                  <a:ext uri="{C183D7F6-B498-43B3-948B-1728B52AA6E4}">
                    <adec:decorative xmlns:adec="http://schemas.microsoft.com/office/drawing/2017/decorative" val="1"/>
                  </a:ext>
                </a:extLst>
              </p:cNvPr>
              <p:cNvGrpSpPr/>
              <p:nvPr/>
            </p:nvGrpSpPr>
            <p:grpSpPr>
              <a:xfrm>
                <a:off x="1026526" y="2558754"/>
                <a:ext cx="940705" cy="938664"/>
                <a:chOff x="6104965" y="2265289"/>
                <a:chExt cx="1855800" cy="1855800"/>
              </a:xfrm>
            </p:grpSpPr>
            <p:sp>
              <p:nvSpPr>
                <p:cNvPr id="165" name="Google Shape;165;p2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6" name="Google Shape;166;p2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7" name="Google Shape;167;p2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168" name="Google Shape;168;p20">
                <a:extLs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5550356" y="0"/>
                <a:ext cx="3587500" cy="3028029"/>
              </a:xfrm>
              <a:prstGeom prst="rect">
                <a:avLst/>
              </a:prstGeom>
              <a:noFill/>
              <a:ln>
                <a:noFill/>
              </a:ln>
            </p:spPr>
          </p:pic>
          <p:grpSp>
            <p:nvGrpSpPr>
              <p:cNvPr id="169" name="Google Shape;169;p20">
                <a:extLst>
                  <a:ext uri="{C183D7F6-B498-43B3-948B-1728B52AA6E4}">
                    <adec:decorative xmlns:adec="http://schemas.microsoft.com/office/drawing/2017/decorative" val="1"/>
                  </a:ext>
                </a:extLst>
              </p:cNvPr>
              <p:cNvGrpSpPr/>
              <p:nvPr/>
            </p:nvGrpSpPr>
            <p:grpSpPr>
              <a:xfrm>
                <a:off x="4094240" y="2556866"/>
                <a:ext cx="940148" cy="938664"/>
                <a:chOff x="6104965" y="2265289"/>
                <a:chExt cx="1855800" cy="1855800"/>
              </a:xfrm>
            </p:grpSpPr>
            <p:sp>
              <p:nvSpPr>
                <p:cNvPr id="170" name="Google Shape;170;p20"/>
                <p:cNvSpPr/>
                <p:nvPr/>
              </p:nvSpPr>
              <p:spPr>
                <a:xfrm>
                  <a:off x="6104965" y="2265289"/>
                  <a:ext cx="1855800" cy="1855800"/>
                </a:xfrm>
                <a:prstGeom prst="ellipse">
                  <a:avLst/>
                </a:prstGeom>
                <a:solidFill>
                  <a:srgbClr val="9477E2">
                    <a:alpha val="30980"/>
                  </a:srgbClr>
                </a:soli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171" name="Google Shape;171;p20"/>
                <p:cNvSpPr/>
                <p:nvPr/>
              </p:nvSpPr>
              <p:spPr>
                <a:xfrm>
                  <a:off x="6326458" y="2482124"/>
                  <a:ext cx="1422000" cy="1422000"/>
                </a:xfrm>
                <a:prstGeom prst="ellipse">
                  <a:avLst/>
                </a:prstGeom>
                <a:solidFill>
                  <a:srgbClr val="9477E2">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172" name="Google Shape;172;p20"/>
                <p:cNvSpPr/>
                <p:nvPr/>
              </p:nvSpPr>
              <p:spPr>
                <a:xfrm>
                  <a:off x="6566834" y="2724359"/>
                  <a:ext cx="942600" cy="942600"/>
                </a:xfrm>
                <a:prstGeom prst="ellipse">
                  <a:avLst/>
                </a:prstGeom>
                <a:solidFill>
                  <a:srgbClr val="9477E2"/>
                </a:soli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grpSp>
          <p:grpSp>
            <p:nvGrpSpPr>
              <p:cNvPr id="173" name="Google Shape;173;p20">
                <a:extLst>
                  <a:ext uri="{C183D7F6-B498-43B3-948B-1728B52AA6E4}">
                    <adec:decorative xmlns:adec="http://schemas.microsoft.com/office/drawing/2017/decorative" val="1"/>
                  </a:ext>
                </a:extLst>
              </p:cNvPr>
              <p:cNvGrpSpPr/>
              <p:nvPr/>
            </p:nvGrpSpPr>
            <p:grpSpPr>
              <a:xfrm>
                <a:off x="7149441" y="2559599"/>
                <a:ext cx="940148" cy="938664"/>
                <a:chOff x="6104965" y="2265289"/>
                <a:chExt cx="1855800" cy="1855800"/>
              </a:xfrm>
            </p:grpSpPr>
            <p:sp>
              <p:nvSpPr>
                <p:cNvPr id="174" name="Google Shape;174;p20"/>
                <p:cNvSpPr/>
                <p:nvPr/>
              </p:nvSpPr>
              <p:spPr>
                <a:xfrm>
                  <a:off x="6104965" y="2265289"/>
                  <a:ext cx="1855800" cy="1855800"/>
                </a:xfrm>
                <a:prstGeom prst="ellipse">
                  <a:avLst/>
                </a:prstGeom>
                <a:solidFill>
                  <a:srgbClr val="8661C5">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75" name="Google Shape;175;p20"/>
                <p:cNvSpPr/>
                <p:nvPr/>
              </p:nvSpPr>
              <p:spPr>
                <a:xfrm>
                  <a:off x="6326458" y="2482124"/>
                  <a:ext cx="1422000" cy="14220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76" name="Google Shape;176;p20"/>
                <p:cNvSpPr/>
                <p:nvPr/>
              </p:nvSpPr>
              <p:spPr>
                <a:xfrm>
                  <a:off x="6566834" y="2724359"/>
                  <a:ext cx="942600" cy="9426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178" name="Google Shape;178;p20">
                <a:extLst>
                  <a:ext uri="{C183D7F6-B498-43B3-948B-1728B52AA6E4}">
                    <adec:decorative xmlns:adec="http://schemas.microsoft.com/office/drawing/2017/decorative" val="1"/>
                  </a:ext>
                </a:extLst>
              </p:cNvPr>
              <p:cNvSpPr/>
              <p:nvPr/>
            </p:nvSpPr>
            <p:spPr>
              <a:xfrm rot="10800000">
                <a:off x="407925" y="275"/>
                <a:ext cx="73200" cy="22431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37" name="Google Shape;67;p15">
                <a:extLst>
                  <a:ext uri="{FF2B5EF4-FFF2-40B4-BE49-F238E27FC236}">
                    <a16:creationId xmlns:a16="http://schemas.microsoft.com/office/drawing/2014/main" id="{D78CD110-237A-5F43-8A7B-221443C4F7EB}"/>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grpSp>
      <p:sp>
        <p:nvSpPr>
          <p:cNvPr id="32" name="Google Shape;120;p18">
            <a:extLst>
              <a:ext uri="{FF2B5EF4-FFF2-40B4-BE49-F238E27FC236}">
                <a16:creationId xmlns:a16="http://schemas.microsoft.com/office/drawing/2014/main" id="{E7A6AB27-0469-C841-892F-B81BA63227CF}"/>
              </a:ext>
            </a:extLst>
          </p:cNvPr>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79" name="Google Shape;179;p2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lang="en-US" dirty="0"/>
          </a:p>
        </p:txBody>
      </p:sp>
      <p:sp>
        <p:nvSpPr>
          <p:cNvPr id="33" name="Google Shape;122;p18">
            <a:extLst>
              <a:ext uri="{FF2B5EF4-FFF2-40B4-BE49-F238E27FC236}">
                <a16:creationId xmlns:a16="http://schemas.microsoft.com/office/drawing/2014/main" id="{CCD79018-57BD-894A-9B47-70A12FA8EE6C}"/>
              </a:ext>
            </a:extLst>
          </p:cNvPr>
          <p:cNvSpPr>
            <a:spLocks noGrp="1"/>
          </p:cNvSpPr>
          <p:nvPr>
            <p:ph type="pic" idx="23"/>
          </p:nvPr>
        </p:nvSpPr>
        <p:spPr>
          <a:xfrm>
            <a:off x="1757272" y="379888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5" name="Google Shape;185;p20"/>
          <p:cNvSpPr txBox="1">
            <a:spLocks noGrp="1"/>
          </p:cNvSpPr>
          <p:nvPr>
            <p:ph type="body" idx="7"/>
          </p:nvPr>
        </p:nvSpPr>
        <p:spPr>
          <a:xfrm>
            <a:off x="903928" y="4876800"/>
            <a:ext cx="2239696"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dirty="0"/>
          </a:p>
        </p:txBody>
      </p:sp>
      <p:sp>
        <p:nvSpPr>
          <p:cNvPr id="184" name="Google Shape;184;p20"/>
          <p:cNvSpPr txBox="1">
            <a:spLocks noGrp="1"/>
          </p:cNvSpPr>
          <p:nvPr>
            <p:ph type="body" idx="6"/>
          </p:nvPr>
        </p:nvSpPr>
        <p:spPr>
          <a:xfrm>
            <a:off x="670560" y="5218176"/>
            <a:ext cx="2731200" cy="1085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4" name="Google Shape;122;p18">
            <a:extLst>
              <a:ext uri="{FF2B5EF4-FFF2-40B4-BE49-F238E27FC236}">
                <a16:creationId xmlns:a16="http://schemas.microsoft.com/office/drawing/2014/main" id="{3821B06F-3407-5C43-AD89-CD938462AD20}"/>
              </a:ext>
            </a:extLst>
          </p:cNvPr>
          <p:cNvSpPr>
            <a:spLocks noGrp="1"/>
          </p:cNvSpPr>
          <p:nvPr>
            <p:ph type="pic" idx="24"/>
          </p:nvPr>
        </p:nvSpPr>
        <p:spPr>
          <a:xfrm>
            <a:off x="5847186" y="3796366"/>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7" name="Google Shape;187;p20"/>
          <p:cNvSpPr txBox="1">
            <a:spLocks noGrp="1"/>
          </p:cNvSpPr>
          <p:nvPr>
            <p:ph type="body" idx="9"/>
          </p:nvPr>
        </p:nvSpPr>
        <p:spPr>
          <a:xfrm>
            <a:off x="4730112" y="4876800"/>
            <a:ext cx="2731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rtl="0">
              <a:spcBef>
                <a:spcPts val="0"/>
              </a:spcBef>
              <a:spcAft>
                <a:spcPts val="0"/>
              </a:spcAft>
              <a:buSzPts val="1000"/>
              <a:buChar char="○"/>
              <a:defRPr/>
            </a:lvl2pPr>
            <a:lvl3pPr marL="1825943" lvl="2" indent="-388858" rtl="0">
              <a:spcBef>
                <a:spcPts val="0"/>
              </a:spcBef>
              <a:spcAft>
                <a:spcPts val="0"/>
              </a:spcAft>
              <a:buSzPts val="1000"/>
              <a:buChar char="■"/>
              <a:defRPr/>
            </a:lvl3pPr>
            <a:lvl4pPr marL="2434590" lvl="3" indent="-388858" rtl="0">
              <a:spcBef>
                <a:spcPts val="0"/>
              </a:spcBef>
              <a:spcAft>
                <a:spcPts val="0"/>
              </a:spcAft>
              <a:buSzPts val="1000"/>
              <a:buChar char="●"/>
              <a:defRPr/>
            </a:lvl4pPr>
            <a:lvl5pPr marL="3043238" lvl="4" indent="-388858" rtl="0">
              <a:spcBef>
                <a:spcPts val="0"/>
              </a:spcBef>
              <a:spcAft>
                <a:spcPts val="0"/>
              </a:spcAft>
              <a:buSzPts val="1000"/>
              <a:buChar char="○"/>
              <a:defRPr/>
            </a:lvl5pPr>
            <a:lvl6pPr marL="3651885" lvl="5" indent="-388858" rtl="0">
              <a:spcBef>
                <a:spcPts val="0"/>
              </a:spcBef>
              <a:spcAft>
                <a:spcPts val="0"/>
              </a:spcAft>
              <a:buSzPts val="1000"/>
              <a:buChar char="■"/>
              <a:defRPr/>
            </a:lvl6pPr>
            <a:lvl7pPr marL="4260533" lvl="6" indent="-388858" rtl="0">
              <a:spcBef>
                <a:spcPts val="0"/>
              </a:spcBef>
              <a:spcAft>
                <a:spcPts val="0"/>
              </a:spcAft>
              <a:buSzPts val="1000"/>
              <a:buChar char="●"/>
              <a:defRPr/>
            </a:lvl7pPr>
            <a:lvl8pPr marL="4869180" lvl="7" indent="-388858" rtl="0">
              <a:spcBef>
                <a:spcPts val="0"/>
              </a:spcBef>
              <a:spcAft>
                <a:spcPts val="0"/>
              </a:spcAft>
              <a:buSzPts val="1000"/>
              <a:buChar char="○"/>
              <a:defRPr/>
            </a:lvl8pPr>
            <a:lvl9pPr marL="5477828" lvl="8" indent="-388858" rtl="0">
              <a:spcBef>
                <a:spcPts val="0"/>
              </a:spcBef>
              <a:spcAft>
                <a:spcPts val="0"/>
              </a:spcAft>
              <a:buSzPts val="1000"/>
              <a:buChar char="■"/>
              <a:defRPr/>
            </a:lvl9pPr>
          </a:lstStyle>
          <a:p>
            <a:endParaRPr dirty="0"/>
          </a:p>
        </p:txBody>
      </p:sp>
      <p:sp>
        <p:nvSpPr>
          <p:cNvPr id="186" name="Google Shape;186;p20"/>
          <p:cNvSpPr txBox="1">
            <a:spLocks noGrp="1"/>
          </p:cNvSpPr>
          <p:nvPr>
            <p:ph type="body" idx="8"/>
          </p:nvPr>
        </p:nvSpPr>
        <p:spPr>
          <a:xfrm>
            <a:off x="4730496" y="5218176"/>
            <a:ext cx="2731200" cy="10852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 name="Google Shape;122;p18">
            <a:extLst>
              <a:ext uri="{FF2B5EF4-FFF2-40B4-BE49-F238E27FC236}">
                <a16:creationId xmlns:a16="http://schemas.microsoft.com/office/drawing/2014/main" id="{86A4FF54-90AF-1547-A759-FE79ACB06627}"/>
              </a:ext>
            </a:extLst>
          </p:cNvPr>
          <p:cNvSpPr>
            <a:spLocks noGrp="1"/>
          </p:cNvSpPr>
          <p:nvPr>
            <p:ph type="pic" idx="25"/>
          </p:nvPr>
        </p:nvSpPr>
        <p:spPr>
          <a:xfrm>
            <a:off x="9920788" y="3800009"/>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9" name="Google Shape;189;p20"/>
          <p:cNvSpPr txBox="1">
            <a:spLocks noGrp="1"/>
          </p:cNvSpPr>
          <p:nvPr>
            <p:ph type="body" idx="14"/>
          </p:nvPr>
        </p:nvSpPr>
        <p:spPr>
          <a:xfrm>
            <a:off x="8884668" y="4888992"/>
            <a:ext cx="25423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rtl="0">
              <a:spcBef>
                <a:spcPts val="0"/>
              </a:spcBef>
              <a:spcAft>
                <a:spcPts val="0"/>
              </a:spcAft>
              <a:buSzPts val="1000"/>
              <a:buChar char="○"/>
              <a:defRPr/>
            </a:lvl2pPr>
            <a:lvl3pPr marL="1825943" lvl="2" indent="-388858" rtl="0">
              <a:spcBef>
                <a:spcPts val="0"/>
              </a:spcBef>
              <a:spcAft>
                <a:spcPts val="0"/>
              </a:spcAft>
              <a:buSzPts val="1000"/>
              <a:buChar char="■"/>
              <a:defRPr/>
            </a:lvl3pPr>
            <a:lvl4pPr marL="2434590" lvl="3" indent="-388858" rtl="0">
              <a:spcBef>
                <a:spcPts val="0"/>
              </a:spcBef>
              <a:spcAft>
                <a:spcPts val="0"/>
              </a:spcAft>
              <a:buSzPts val="1000"/>
              <a:buChar char="●"/>
              <a:defRPr/>
            </a:lvl4pPr>
            <a:lvl5pPr marL="3043238" lvl="4" indent="-388858" rtl="0">
              <a:spcBef>
                <a:spcPts val="0"/>
              </a:spcBef>
              <a:spcAft>
                <a:spcPts val="0"/>
              </a:spcAft>
              <a:buSzPts val="1000"/>
              <a:buChar char="○"/>
              <a:defRPr/>
            </a:lvl5pPr>
            <a:lvl6pPr marL="3651885" lvl="5" indent="-388858" rtl="0">
              <a:spcBef>
                <a:spcPts val="0"/>
              </a:spcBef>
              <a:spcAft>
                <a:spcPts val="0"/>
              </a:spcAft>
              <a:buSzPts val="1000"/>
              <a:buChar char="■"/>
              <a:defRPr/>
            </a:lvl6pPr>
            <a:lvl7pPr marL="4260533" lvl="6" indent="-388858" rtl="0">
              <a:spcBef>
                <a:spcPts val="0"/>
              </a:spcBef>
              <a:spcAft>
                <a:spcPts val="0"/>
              </a:spcAft>
              <a:buSzPts val="1000"/>
              <a:buChar char="●"/>
              <a:defRPr/>
            </a:lvl7pPr>
            <a:lvl8pPr marL="4869180" lvl="7" indent="-388858" rtl="0">
              <a:spcBef>
                <a:spcPts val="0"/>
              </a:spcBef>
              <a:spcAft>
                <a:spcPts val="0"/>
              </a:spcAft>
              <a:buSzPts val="1000"/>
              <a:buChar char="○"/>
              <a:defRPr/>
            </a:lvl8pPr>
            <a:lvl9pPr marL="5477828" lvl="8" indent="-388858" rtl="0">
              <a:spcBef>
                <a:spcPts val="0"/>
              </a:spcBef>
              <a:spcAft>
                <a:spcPts val="0"/>
              </a:spcAft>
              <a:buSzPts val="1000"/>
              <a:buChar char="■"/>
              <a:defRPr/>
            </a:lvl9pPr>
          </a:lstStyle>
          <a:p>
            <a:endParaRPr dirty="0"/>
          </a:p>
        </p:txBody>
      </p:sp>
      <p:sp>
        <p:nvSpPr>
          <p:cNvPr id="188" name="Google Shape;188;p20"/>
          <p:cNvSpPr txBox="1">
            <a:spLocks noGrp="1"/>
          </p:cNvSpPr>
          <p:nvPr>
            <p:ph type="body" idx="13"/>
          </p:nvPr>
        </p:nvSpPr>
        <p:spPr>
          <a:xfrm>
            <a:off x="8790227" y="5230368"/>
            <a:ext cx="2731200" cy="10852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6" name="Google Shape;268;p27">
            <a:extLst>
              <a:ext uri="{FF2B5EF4-FFF2-40B4-BE49-F238E27FC236}">
                <a16:creationId xmlns:a16="http://schemas.microsoft.com/office/drawing/2014/main" id="{7E4BF4A8-E0B6-8242-AC99-775A759DE1A5}"/>
              </a:ext>
              <a:ext uri="{C183D7F6-B498-43B3-948B-1728B52AA6E4}">
                <adec:decorative xmlns:adec="http://schemas.microsoft.com/office/drawing/2017/decorative" val="1"/>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78379644-2D0E-8017-C510-B607AB39D656}"/>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43529129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Subsection Cover E" preserve="1">
  <p:cSld name="Subsection Cover E">
    <p:spTree>
      <p:nvGrpSpPr>
        <p:cNvPr id="1" name="Shape 190"/>
        <p:cNvGrpSpPr/>
        <p:nvPr/>
      </p:nvGrpSpPr>
      <p:grpSpPr>
        <a:xfrm>
          <a:off x="0" y="0"/>
          <a:ext cx="0" cy="0"/>
          <a:chOff x="0" y="0"/>
          <a:chExt cx="0" cy="0"/>
        </a:xfrm>
      </p:grpSpPr>
      <p:grpSp>
        <p:nvGrpSpPr>
          <p:cNvPr id="2" name="Group 1">
            <a:extLst>
              <a:ext uri="{FF2B5EF4-FFF2-40B4-BE49-F238E27FC236}">
                <a16:creationId xmlns:a16="http://schemas.microsoft.com/office/drawing/2014/main" id="{EAB10C81-7E96-8DBC-D29F-80FF1F4E4FE8}"/>
              </a:ext>
              <a:ext uri="{C183D7F6-B498-43B3-948B-1728B52AA6E4}">
                <adec:decorative xmlns:adec="http://schemas.microsoft.com/office/drawing/2017/decorative" val="1"/>
              </a:ext>
            </a:extLst>
          </p:cNvPr>
          <p:cNvGrpSpPr/>
          <p:nvPr userDrawn="1"/>
        </p:nvGrpSpPr>
        <p:grpSpPr>
          <a:xfrm>
            <a:off x="0" y="-34"/>
            <a:ext cx="14229232" cy="10254376"/>
            <a:chOff x="0" y="-25"/>
            <a:chExt cx="10671924" cy="7690782"/>
          </a:xfrm>
        </p:grpSpPr>
        <p:pic>
          <p:nvPicPr>
            <p:cNvPr id="191" name="Google Shape;191;p21">
              <a:extLst>
                <a:ext uri="{C183D7F6-B498-43B3-948B-1728B52AA6E4}">
                  <adec:decorative xmlns:adec="http://schemas.microsoft.com/office/drawing/2017/decorative" val="1"/>
                </a:ext>
              </a:extLst>
            </p:cNvPr>
            <p:cNvPicPr preferRelativeResize="0"/>
            <p:nvPr/>
          </p:nvPicPr>
          <p:blipFill rotWithShape="1">
            <a:blip r:embed="rId2">
              <a:alphaModFix/>
            </a:blip>
            <a:srcRect l="17695" t="23177" b="8771"/>
            <a:stretch/>
          </p:blipFill>
          <p:spPr>
            <a:xfrm>
              <a:off x="0" y="-25"/>
              <a:ext cx="6961777" cy="5143499"/>
            </a:xfrm>
            <a:prstGeom prst="rect">
              <a:avLst/>
            </a:prstGeom>
            <a:noFill/>
            <a:ln>
              <a:noFill/>
            </a:ln>
          </p:spPr>
        </p:pic>
        <p:pic>
          <p:nvPicPr>
            <p:cNvPr id="192" name="Google Shape;192;p21">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6909555" y="1122319"/>
              <a:ext cx="3762369" cy="3762369"/>
            </a:xfrm>
            <a:prstGeom prst="rect">
              <a:avLst/>
            </a:prstGeom>
            <a:noFill/>
            <a:ln>
              <a:noFill/>
            </a:ln>
          </p:spPr>
        </p:pic>
        <p:pic>
          <p:nvPicPr>
            <p:cNvPr id="193" name="Google Shape;193;p21">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022198" y="3928388"/>
              <a:ext cx="3762369" cy="3762369"/>
            </a:xfrm>
            <a:prstGeom prst="rect">
              <a:avLst/>
            </a:prstGeom>
            <a:noFill/>
            <a:ln>
              <a:noFill/>
            </a:ln>
          </p:spPr>
        </p:pic>
        <p:sp>
          <p:nvSpPr>
            <p:cNvPr id="194" name="Google Shape;194;p21">
              <a:extLst>
                <a:ext uri="{C183D7F6-B498-43B3-948B-1728B52AA6E4}">
                  <adec:decorative xmlns:adec="http://schemas.microsoft.com/office/drawing/2017/decorative" val="1"/>
                </a:ext>
              </a:extLst>
            </p:cNvPr>
            <p:cNvSpPr/>
            <p:nvPr/>
          </p:nvSpPr>
          <p:spPr>
            <a:xfrm rot="10800000">
              <a:off x="998900" y="-25"/>
              <a:ext cx="73200" cy="3179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195" name="Google Shape;195;p21">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grpSp>
      <p:sp>
        <p:nvSpPr>
          <p:cNvPr id="196" name="Google Shape;196;p21"/>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7" name="Google Shape;197;p21"/>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103863255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Subsection Cover F" preserve="1" userDrawn="1">
  <p:cSld name="Subsection Cover F">
    <p:spTree>
      <p:nvGrpSpPr>
        <p:cNvPr id="1" name="Shape 198"/>
        <p:cNvGrpSpPr/>
        <p:nvPr/>
      </p:nvGrpSpPr>
      <p:grpSpPr>
        <a:xfrm>
          <a:off x="0" y="0"/>
          <a:ext cx="0" cy="0"/>
          <a:chOff x="0" y="0"/>
          <a:chExt cx="0" cy="0"/>
        </a:xfrm>
      </p:grpSpPr>
      <p:grpSp>
        <p:nvGrpSpPr>
          <p:cNvPr id="2" name="Group 1">
            <a:extLst>
              <a:ext uri="{FF2B5EF4-FFF2-40B4-BE49-F238E27FC236}">
                <a16:creationId xmlns:a16="http://schemas.microsoft.com/office/drawing/2014/main" id="{48916E6B-130A-702E-A467-CC8CFED680EA}"/>
              </a:ext>
              <a:ext uri="{C183D7F6-B498-43B3-948B-1728B52AA6E4}">
                <adec:decorative xmlns:adec="http://schemas.microsoft.com/office/drawing/2017/decorative" val="1"/>
              </a:ext>
            </a:extLst>
          </p:cNvPr>
          <p:cNvGrpSpPr/>
          <p:nvPr userDrawn="1"/>
        </p:nvGrpSpPr>
        <p:grpSpPr>
          <a:xfrm>
            <a:off x="-1555011" y="-1630732"/>
            <a:ext cx="15784244" cy="11885076"/>
            <a:chOff x="-1166259" y="-1223050"/>
            <a:chExt cx="11838183" cy="8913807"/>
          </a:xfrm>
        </p:grpSpPr>
        <p:pic>
          <p:nvPicPr>
            <p:cNvPr id="199" name="Google Shape;199;p22">
              <a:extLst>
                <a:ext uri="{C183D7F6-B498-43B3-948B-1728B52AA6E4}">
                  <adec:decorative xmlns:adec="http://schemas.microsoft.com/office/drawing/2017/decorative" val="1"/>
                </a:ext>
              </a:extLst>
            </p:cNvPr>
            <p:cNvPicPr preferRelativeResize="0"/>
            <p:nvPr/>
          </p:nvPicPr>
          <p:blipFill>
            <a:blip r:embed="rId2">
              <a:alphaModFix/>
            </a:blip>
            <a:stretch>
              <a:fillRect/>
            </a:stretch>
          </p:blipFill>
          <p:spPr>
            <a:xfrm>
              <a:off x="-1166259" y="-1223050"/>
              <a:ext cx="5138468" cy="5143501"/>
            </a:xfrm>
            <a:prstGeom prst="rect">
              <a:avLst/>
            </a:prstGeom>
            <a:noFill/>
            <a:ln>
              <a:noFill/>
            </a:ln>
          </p:spPr>
        </p:pic>
        <p:sp>
          <p:nvSpPr>
            <p:cNvPr id="200" name="Google Shape;200;p22">
              <a:extLst>
                <a:ext uri="{C183D7F6-B498-43B3-948B-1728B52AA6E4}">
                  <adec:decorative xmlns:adec="http://schemas.microsoft.com/office/drawing/2017/decorative" val="1"/>
                </a:ext>
              </a:extLst>
            </p:cNvPr>
            <p:cNvSpPr/>
            <p:nvPr/>
          </p:nvSpPr>
          <p:spPr>
            <a:xfrm>
              <a:off x="-331227" y="647439"/>
              <a:ext cx="6414300" cy="6404400"/>
            </a:xfrm>
            <a:prstGeom prst="ellipse">
              <a:avLst/>
            </a:prstGeom>
            <a:gradFill>
              <a:gsLst>
                <a:gs pos="0">
                  <a:srgbClr val="1F9CF0"/>
                </a:gs>
                <a:gs pos="72000">
                  <a:srgbClr val="007ACC">
                    <a:alpha val="23529"/>
                  </a:srgbClr>
                </a:gs>
                <a:gs pos="100000">
                  <a:srgbClr val="007ACC">
                    <a:alpha val="23529"/>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01" name="Google Shape;201;p22">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6909555" y="1122319"/>
              <a:ext cx="3762369" cy="3762369"/>
            </a:xfrm>
            <a:prstGeom prst="rect">
              <a:avLst/>
            </a:prstGeom>
            <a:noFill/>
            <a:ln>
              <a:noFill/>
            </a:ln>
          </p:spPr>
        </p:pic>
        <p:pic>
          <p:nvPicPr>
            <p:cNvPr id="202" name="Google Shape;202;p22">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022198" y="3928388"/>
              <a:ext cx="3762369" cy="3762369"/>
            </a:xfrm>
            <a:prstGeom prst="rect">
              <a:avLst/>
            </a:prstGeom>
            <a:noFill/>
            <a:ln>
              <a:noFill/>
            </a:ln>
          </p:spPr>
        </p:pic>
        <p:sp>
          <p:nvSpPr>
            <p:cNvPr id="203" name="Google Shape;203;p22">
              <a:extLst>
                <a:ext uri="{C183D7F6-B498-43B3-948B-1728B52AA6E4}">
                  <adec:decorative xmlns:adec="http://schemas.microsoft.com/office/drawing/2017/decorative" val="1"/>
                </a:ext>
              </a:extLst>
            </p:cNvPr>
            <p:cNvSpPr/>
            <p:nvPr/>
          </p:nvSpPr>
          <p:spPr>
            <a:xfrm>
              <a:off x="-345041" y="230188"/>
              <a:ext cx="1103700" cy="1102200"/>
            </a:xfrm>
            <a:prstGeom prst="ellipse">
              <a:avLst/>
            </a:prstGeom>
            <a:gradFill>
              <a:gsLst>
                <a:gs pos="0">
                  <a:srgbClr val="D59DFF">
                    <a:alpha val="21960"/>
                  </a:srgbClr>
                </a:gs>
                <a:gs pos="100000">
                  <a:srgbClr val="161828">
                    <a:alpha val="55294"/>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04" name="Google Shape;204;p22">
              <a:extLst>
                <a:ext uri="{C183D7F6-B498-43B3-948B-1728B52AA6E4}">
                  <adec:decorative xmlns:adec="http://schemas.microsoft.com/office/drawing/2017/decorative" val="1"/>
                </a:ext>
              </a:extLst>
            </p:cNvPr>
            <p:cNvPicPr preferRelativeResize="0"/>
            <p:nvPr/>
          </p:nvPicPr>
          <p:blipFill>
            <a:blip r:embed="rId4">
              <a:alphaModFix/>
            </a:blip>
            <a:stretch>
              <a:fillRect/>
            </a:stretch>
          </p:blipFill>
          <p:spPr>
            <a:xfrm>
              <a:off x="4744082" y="2640400"/>
              <a:ext cx="1610051" cy="1985751"/>
            </a:xfrm>
            <a:prstGeom prst="rect">
              <a:avLst/>
            </a:prstGeom>
            <a:noFill/>
            <a:ln>
              <a:noFill/>
            </a:ln>
          </p:spPr>
        </p:pic>
        <p:sp>
          <p:nvSpPr>
            <p:cNvPr id="205" name="Google Shape;205;p22">
              <a:extLst>
                <a:ext uri="{C183D7F6-B498-43B3-948B-1728B52AA6E4}">
                  <adec:decorative xmlns:adec="http://schemas.microsoft.com/office/drawing/2017/decorative" val="1"/>
                </a:ext>
              </a:extLst>
            </p:cNvPr>
            <p:cNvSpPr/>
            <p:nvPr/>
          </p:nvSpPr>
          <p:spPr>
            <a:xfrm rot="10800000">
              <a:off x="998900" y="-1"/>
              <a:ext cx="73200" cy="3857625"/>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12" name="Google Shape;196;p21">
            <a:extLst>
              <a:ext uri="{FF2B5EF4-FFF2-40B4-BE49-F238E27FC236}">
                <a16:creationId xmlns:a16="http://schemas.microsoft.com/office/drawing/2014/main" id="{21617290-5BA6-E043-927A-954A333996EA}"/>
              </a:ext>
            </a:extLst>
          </p:cNvPr>
          <p:cNvSpPr txBox="1">
            <a:spLocks noGrp="1"/>
          </p:cNvSpPr>
          <p:nvPr>
            <p:ph type="title"/>
          </p:nvPr>
        </p:nvSpPr>
        <p:spPr>
          <a:xfrm>
            <a:off x="1633734" y="162711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Tree>
    <p:extLst>
      <p:ext uri="{BB962C8B-B14F-4D97-AF65-F5344CB8AC3E}">
        <p14:creationId xmlns:p14="http://schemas.microsoft.com/office/powerpoint/2010/main" val="201688151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Subsection Cover D" preserve="1" userDrawn="1">
  <p:cSld name="Subsection Cover D">
    <p:spTree>
      <p:nvGrpSpPr>
        <p:cNvPr id="1" name="Shape 209"/>
        <p:cNvGrpSpPr/>
        <p:nvPr/>
      </p:nvGrpSpPr>
      <p:grpSpPr>
        <a:xfrm>
          <a:off x="0" y="0"/>
          <a:ext cx="0" cy="0"/>
          <a:chOff x="0" y="0"/>
          <a:chExt cx="0" cy="0"/>
        </a:xfrm>
      </p:grpSpPr>
      <p:grpSp>
        <p:nvGrpSpPr>
          <p:cNvPr id="2" name="Group 1">
            <a:extLst>
              <a:ext uri="{FF2B5EF4-FFF2-40B4-BE49-F238E27FC236}">
                <a16:creationId xmlns:a16="http://schemas.microsoft.com/office/drawing/2014/main" id="{12FD604D-9926-8834-9CD8-C9BCCDD13420}"/>
              </a:ext>
              <a:ext uri="{C183D7F6-B498-43B3-948B-1728B52AA6E4}">
                <adec:decorative xmlns:adec="http://schemas.microsoft.com/office/drawing/2017/decorative" val="1"/>
              </a:ext>
            </a:extLst>
          </p:cNvPr>
          <p:cNvGrpSpPr/>
          <p:nvPr userDrawn="1"/>
        </p:nvGrpSpPr>
        <p:grpSpPr>
          <a:xfrm>
            <a:off x="-2846384" y="-840650"/>
            <a:ext cx="17075616" cy="11094993"/>
            <a:chOff x="-2134788" y="-630488"/>
            <a:chExt cx="12806712" cy="8321245"/>
          </a:xfrm>
        </p:grpSpPr>
        <p:sp>
          <p:nvSpPr>
            <p:cNvPr id="210" name="Google Shape;210;p23">
              <a:extLst>
                <a:ext uri="{C183D7F6-B498-43B3-948B-1728B52AA6E4}">
                  <adec:decorative xmlns:adec="http://schemas.microsoft.com/office/drawing/2017/decorative" val="1"/>
                </a:ext>
              </a:extLst>
            </p:cNvPr>
            <p:cNvSpPr/>
            <p:nvPr/>
          </p:nvSpPr>
          <p:spPr>
            <a:xfrm>
              <a:off x="-2134788" y="232333"/>
              <a:ext cx="6089700" cy="60804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11" name="Google Shape;211;p23">
              <a:extLst>
                <a:ext uri="{C183D7F6-B498-43B3-948B-1728B52AA6E4}">
                  <adec:decorative xmlns:adec="http://schemas.microsoft.com/office/drawing/2017/decorative" val="1"/>
                </a:ext>
              </a:extLst>
            </p:cNvPr>
            <p:cNvSpPr/>
            <p:nvPr/>
          </p:nvSpPr>
          <p:spPr>
            <a:xfrm>
              <a:off x="-331227" y="-630488"/>
              <a:ext cx="6414300" cy="6404400"/>
            </a:xfrm>
            <a:prstGeom prst="ellipse">
              <a:avLst/>
            </a:prstGeom>
            <a:gradFill>
              <a:gsLst>
                <a:gs pos="0">
                  <a:schemeClr val="accent4"/>
                </a:gs>
                <a:gs pos="72000">
                  <a:srgbClr val="9477E2">
                    <a:alpha val="50196"/>
                  </a:srgbClr>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12" name="Google Shape;212;p23">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909555" y="1122319"/>
              <a:ext cx="3762369" cy="3762369"/>
            </a:xfrm>
            <a:prstGeom prst="rect">
              <a:avLst/>
            </a:prstGeom>
            <a:noFill/>
            <a:ln>
              <a:noFill/>
            </a:ln>
          </p:spPr>
        </p:pic>
        <p:sp>
          <p:nvSpPr>
            <p:cNvPr id="213" name="Google Shape;213;p23">
              <a:extLst>
                <a:ext uri="{C183D7F6-B498-43B3-948B-1728B52AA6E4}">
                  <adec:decorative xmlns:adec="http://schemas.microsoft.com/office/drawing/2017/decorative" val="1"/>
                </a:ext>
              </a:extLst>
            </p:cNvPr>
            <p:cNvSpPr/>
            <p:nvPr/>
          </p:nvSpPr>
          <p:spPr>
            <a:xfrm>
              <a:off x="4894296" y="370372"/>
              <a:ext cx="1612500" cy="16098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14" name="Google Shape;214;p23">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1022198" y="3928388"/>
              <a:ext cx="3762369" cy="3762369"/>
            </a:xfrm>
            <a:prstGeom prst="rect">
              <a:avLst/>
            </a:prstGeom>
            <a:noFill/>
            <a:ln>
              <a:noFill/>
            </a:ln>
          </p:spPr>
        </p:pic>
        <p:sp>
          <p:nvSpPr>
            <p:cNvPr id="215" name="Google Shape;215;p23">
              <a:extLst>
                <a:ext uri="{C183D7F6-B498-43B3-948B-1728B52AA6E4}">
                  <adec:decorative xmlns:adec="http://schemas.microsoft.com/office/drawing/2017/decorative" val="1"/>
                </a:ext>
              </a:extLst>
            </p:cNvPr>
            <p:cNvSpPr/>
            <p:nvPr/>
          </p:nvSpPr>
          <p:spPr>
            <a:xfrm>
              <a:off x="4175884" y="292420"/>
              <a:ext cx="608700" cy="607800"/>
            </a:xfrm>
            <a:prstGeom prst="ellipse">
              <a:avLst/>
            </a:prstGeom>
            <a:gradFill>
              <a:gsLst>
                <a:gs pos="0">
                  <a:srgbClr val="007ACC">
                    <a:alpha val="14901"/>
                  </a:srgbClr>
                </a:gs>
                <a:gs pos="100000">
                  <a:srgbClr val="1F9CF0"/>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16" name="Google Shape;216;p23">
              <a:extLst>
                <a:ext uri="{C183D7F6-B498-43B3-948B-1728B52AA6E4}">
                  <adec:decorative xmlns:adec="http://schemas.microsoft.com/office/drawing/2017/decorative" val="1"/>
                </a:ext>
              </a:extLst>
            </p:cNvPr>
            <p:cNvSpPr/>
            <p:nvPr/>
          </p:nvSpPr>
          <p:spPr>
            <a:xfrm rot="10800000">
              <a:off x="998900" y="100"/>
              <a:ext cx="73200" cy="3409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217" name="Google Shape;217;p23">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grpSp>
      <p:sp>
        <p:nvSpPr>
          <p:cNvPr id="12" name="Google Shape;196;p21">
            <a:extLst>
              <a:ext uri="{FF2B5EF4-FFF2-40B4-BE49-F238E27FC236}">
                <a16:creationId xmlns:a16="http://schemas.microsoft.com/office/drawing/2014/main" id="{0D5A692D-5E2C-3545-9A63-90E5192CEDE4}"/>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3" name="Google Shape;197;p21">
            <a:extLst>
              <a:ext uri="{FF2B5EF4-FFF2-40B4-BE49-F238E27FC236}">
                <a16:creationId xmlns:a16="http://schemas.microsoft.com/office/drawing/2014/main" id="{50A9DFC3-AEA3-C846-8DCB-4FA6A6FC54E9}"/>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18334066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Subsection Cover A" preserve="1" userDrawn="1">
  <p:cSld name="Subsection Cover A">
    <p:spTree>
      <p:nvGrpSpPr>
        <p:cNvPr id="1" name="Shape 220"/>
        <p:cNvGrpSpPr/>
        <p:nvPr/>
      </p:nvGrpSpPr>
      <p:grpSpPr>
        <a:xfrm>
          <a:off x="0" y="0"/>
          <a:ext cx="0" cy="0"/>
          <a:chOff x="0" y="0"/>
          <a:chExt cx="0" cy="0"/>
        </a:xfrm>
      </p:grpSpPr>
      <p:grpSp>
        <p:nvGrpSpPr>
          <p:cNvPr id="2" name="Group 1">
            <a:extLst>
              <a:ext uri="{FF2B5EF4-FFF2-40B4-BE49-F238E27FC236}">
                <a16:creationId xmlns:a16="http://schemas.microsoft.com/office/drawing/2014/main" id="{860C5A5C-CF9A-B033-D286-24B1068EA90E}"/>
              </a:ext>
              <a:ext uri="{C183D7F6-B498-43B3-948B-1728B52AA6E4}">
                <adec:decorative xmlns:adec="http://schemas.microsoft.com/office/drawing/2017/decorative" val="1"/>
              </a:ext>
            </a:extLst>
          </p:cNvPr>
          <p:cNvGrpSpPr/>
          <p:nvPr userDrawn="1"/>
        </p:nvGrpSpPr>
        <p:grpSpPr>
          <a:xfrm>
            <a:off x="-4218440" y="1"/>
            <a:ext cx="16410440" cy="6858001"/>
            <a:chOff x="-3163830" y="0"/>
            <a:chExt cx="12307830" cy="5143501"/>
          </a:xfrm>
        </p:grpSpPr>
        <p:cxnSp>
          <p:nvCxnSpPr>
            <p:cNvPr id="10" name="Google Shape;67;p15">
              <a:extLst>
                <a:ext uri="{FF2B5EF4-FFF2-40B4-BE49-F238E27FC236}">
                  <a16:creationId xmlns:a16="http://schemas.microsoft.com/office/drawing/2014/main" id="{D0C05BEA-A12F-824C-AF6C-CA9F6A8FC070}"/>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21" name="Google Shape;221;p24">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2820700" y="0"/>
              <a:ext cx="6323300" cy="5143501"/>
            </a:xfrm>
            <a:prstGeom prst="rect">
              <a:avLst/>
            </a:prstGeom>
            <a:noFill/>
            <a:ln>
              <a:noFill/>
            </a:ln>
          </p:spPr>
        </p:pic>
        <p:pic>
          <p:nvPicPr>
            <p:cNvPr id="222" name="Google Shape;222;p24">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163830" y="690565"/>
              <a:ext cx="3762369" cy="3762369"/>
            </a:xfrm>
            <a:prstGeom prst="rect">
              <a:avLst/>
            </a:prstGeom>
            <a:noFill/>
            <a:ln>
              <a:noFill/>
            </a:ln>
          </p:spPr>
        </p:pic>
        <p:cxnSp>
          <p:nvCxnSpPr>
            <p:cNvPr id="223" name="Google Shape;223;p24">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sp>
          <p:nvSpPr>
            <p:cNvPr id="224" name="Google Shape;224;p24">
              <a:extLst>
                <a:ext uri="{C183D7F6-B498-43B3-948B-1728B52AA6E4}">
                  <adec:decorative xmlns:adec="http://schemas.microsoft.com/office/drawing/2017/decorative" val="1"/>
                </a:ext>
              </a:extLst>
            </p:cNvPr>
            <p:cNvSpPr/>
            <p:nvPr/>
          </p:nvSpPr>
          <p:spPr>
            <a:xfrm rot="10800000">
              <a:off x="998900" y="50"/>
              <a:ext cx="73200" cy="33945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8" name="Google Shape;196;p21">
            <a:extLst>
              <a:ext uri="{FF2B5EF4-FFF2-40B4-BE49-F238E27FC236}">
                <a16:creationId xmlns:a16="http://schemas.microsoft.com/office/drawing/2014/main" id="{DD23A2E5-7DF9-3E42-8FF7-1F52FA94B039}"/>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9" name="Google Shape;197;p21">
            <a:extLst>
              <a:ext uri="{FF2B5EF4-FFF2-40B4-BE49-F238E27FC236}">
                <a16:creationId xmlns:a16="http://schemas.microsoft.com/office/drawing/2014/main" id="{E86E1330-9ED2-2645-B516-145C6EB98F8A}"/>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6" name="Google Shape;56;p14">
            <a:extLst>
              <a:ext uri="{FF2B5EF4-FFF2-40B4-BE49-F238E27FC236}">
                <a16:creationId xmlns:a16="http://schemas.microsoft.com/office/drawing/2014/main" id="{C4E37350-9F7D-7FE9-47FB-D3020A809669}"/>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69625370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matchingName="Subsection Cover C" preserve="1" userDrawn="1">
  <p:cSld name="Subsection Cover C">
    <p:spTree>
      <p:nvGrpSpPr>
        <p:cNvPr id="1" name="Shape 605"/>
        <p:cNvGrpSpPr/>
        <p:nvPr/>
      </p:nvGrpSpPr>
      <p:grpSpPr>
        <a:xfrm>
          <a:off x="0" y="0"/>
          <a:ext cx="0" cy="0"/>
          <a:chOff x="0" y="0"/>
          <a:chExt cx="0" cy="0"/>
        </a:xfrm>
      </p:grpSpPr>
      <p:grpSp>
        <p:nvGrpSpPr>
          <p:cNvPr id="2" name="Group 1">
            <a:extLst>
              <a:ext uri="{FF2B5EF4-FFF2-40B4-BE49-F238E27FC236}">
                <a16:creationId xmlns:a16="http://schemas.microsoft.com/office/drawing/2014/main" id="{6EDDDB32-C31D-CB0C-9C98-E26065D274CE}"/>
              </a:ext>
              <a:ext uri="{C183D7F6-B498-43B3-948B-1728B52AA6E4}">
                <adec:decorative xmlns:adec="http://schemas.microsoft.com/office/drawing/2017/decorative" val="1"/>
              </a:ext>
            </a:extLst>
          </p:cNvPr>
          <p:cNvGrpSpPr/>
          <p:nvPr userDrawn="1"/>
        </p:nvGrpSpPr>
        <p:grpSpPr>
          <a:xfrm>
            <a:off x="-4218439" y="0"/>
            <a:ext cx="16409510" cy="6858003"/>
            <a:chOff x="-3163830" y="0"/>
            <a:chExt cx="12307133" cy="5143502"/>
          </a:xfrm>
        </p:grpSpPr>
        <p:cxnSp>
          <p:nvCxnSpPr>
            <p:cNvPr id="13" name="Google Shape;67;p15">
              <a:extLst>
                <a:ext uri="{FF2B5EF4-FFF2-40B4-BE49-F238E27FC236}">
                  <a16:creationId xmlns:a16="http://schemas.microsoft.com/office/drawing/2014/main" id="{B3289E93-2F80-8F42-82CE-264F7C038480}"/>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608" name="Google Shape;608;p40">
              <a:extLst>
                <a:ext uri="{C183D7F6-B498-43B3-948B-1728B52AA6E4}">
                  <adec:decorative xmlns:adec="http://schemas.microsoft.com/office/drawing/2017/decorative" val="1"/>
                </a:ext>
              </a:extLst>
            </p:cNvPr>
            <p:cNvSpPr/>
            <p:nvPr/>
          </p:nvSpPr>
          <p:spPr>
            <a:xfrm>
              <a:off x="5450166" y="4900823"/>
              <a:ext cx="3595800" cy="124800"/>
            </a:xfrm>
            <a:prstGeom prst="rect">
              <a:avLst/>
            </a:prstGeom>
            <a:noFill/>
            <a:ln>
              <a:noFill/>
            </a:ln>
          </p:spPr>
          <p:txBody>
            <a:bodyPr spcFirstLastPara="1" wrap="square" lIns="42900" tIns="21450" rIns="42900" bIns="21450"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cxnSp>
          <p:nvCxnSpPr>
            <p:cNvPr id="609" name="Google Shape;609;p40">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pic>
          <p:nvPicPr>
            <p:cNvPr id="610" name="Google Shape;610;p40">
              <a:extLst>
                <a:ext uri="{C183D7F6-B498-43B3-948B-1728B52AA6E4}">
                  <adec:decorative xmlns:adec="http://schemas.microsoft.com/office/drawing/2017/decorative" val="1"/>
                </a:ext>
              </a:extLst>
            </p:cNvPr>
            <p:cNvPicPr preferRelativeResize="0"/>
            <p:nvPr/>
          </p:nvPicPr>
          <p:blipFill rotWithShape="1">
            <a:blip r:embed="rId2">
              <a:alphaModFix/>
            </a:blip>
            <a:srcRect t="901" r="941"/>
            <a:stretch/>
          </p:blipFill>
          <p:spPr>
            <a:xfrm>
              <a:off x="2858495" y="0"/>
              <a:ext cx="6275788" cy="5143502"/>
            </a:xfrm>
            <a:prstGeom prst="rect">
              <a:avLst/>
            </a:prstGeom>
            <a:noFill/>
            <a:ln>
              <a:noFill/>
            </a:ln>
          </p:spPr>
        </p:pic>
        <p:pic>
          <p:nvPicPr>
            <p:cNvPr id="611" name="Google Shape;611;p40">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163830" y="690565"/>
              <a:ext cx="3762369" cy="3762369"/>
            </a:xfrm>
            <a:prstGeom prst="rect">
              <a:avLst/>
            </a:prstGeom>
            <a:noFill/>
            <a:ln>
              <a:noFill/>
            </a:ln>
          </p:spPr>
        </p:pic>
        <p:sp>
          <p:nvSpPr>
            <p:cNvPr id="614" name="Google Shape;614;p40">
              <a:extLst>
                <a:ext uri="{C183D7F6-B498-43B3-948B-1728B52AA6E4}">
                  <adec:decorative xmlns:adec="http://schemas.microsoft.com/office/drawing/2017/decorative" val="1"/>
                </a:ext>
              </a:extLst>
            </p:cNvPr>
            <p:cNvSpPr/>
            <p:nvPr/>
          </p:nvSpPr>
          <p:spPr>
            <a:xfrm rot="10800000">
              <a:off x="998900" y="250"/>
              <a:ext cx="73200" cy="3401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11" name="Google Shape;196;p21">
            <a:extLst>
              <a:ext uri="{FF2B5EF4-FFF2-40B4-BE49-F238E27FC236}">
                <a16:creationId xmlns:a16="http://schemas.microsoft.com/office/drawing/2014/main" id="{6FAE51A8-BD8E-3E44-B52C-3D0D2FEA3A8F}"/>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2" name="Google Shape;197;p21">
            <a:extLst>
              <a:ext uri="{FF2B5EF4-FFF2-40B4-BE49-F238E27FC236}">
                <a16:creationId xmlns:a16="http://schemas.microsoft.com/office/drawing/2014/main" id="{7547AEDB-C4CC-B049-8D2A-220A88AC2505}"/>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lang="en-US"/>
          </a:p>
        </p:txBody>
      </p:sp>
      <p:sp>
        <p:nvSpPr>
          <p:cNvPr id="6" name="Google Shape;56;p14">
            <a:extLst>
              <a:ext uri="{FF2B5EF4-FFF2-40B4-BE49-F238E27FC236}">
                <a16:creationId xmlns:a16="http://schemas.microsoft.com/office/drawing/2014/main" id="{0F68B82D-60B2-DB33-D64E-F7E5E287B705}"/>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65494348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matchingName="People-LinkedIn (4)" preserve="1" userDrawn="1">
  <p:cSld name="People-LinkedIn (4)">
    <p:spTree>
      <p:nvGrpSpPr>
        <p:cNvPr id="1" name="Shape 227"/>
        <p:cNvGrpSpPr/>
        <p:nvPr/>
      </p:nvGrpSpPr>
      <p:grpSpPr>
        <a:xfrm>
          <a:off x="0" y="0"/>
          <a:ext cx="0" cy="0"/>
          <a:chOff x="0" y="0"/>
          <a:chExt cx="0" cy="0"/>
        </a:xfrm>
      </p:grpSpPr>
      <p:grpSp>
        <p:nvGrpSpPr>
          <p:cNvPr id="2" name="Group 1">
            <a:extLst>
              <a:ext uri="{FF2B5EF4-FFF2-40B4-BE49-F238E27FC236}">
                <a16:creationId xmlns:a16="http://schemas.microsoft.com/office/drawing/2014/main" id="{9BE78F2B-7ADC-0958-7AA6-24B6884E1F92}"/>
              </a:ext>
              <a:ext uri="{C183D7F6-B498-43B3-948B-1728B52AA6E4}">
                <adec:decorative xmlns:adec="http://schemas.microsoft.com/office/drawing/2017/decorative" val="1"/>
              </a:ext>
            </a:extLst>
          </p:cNvPr>
          <p:cNvGrpSpPr/>
          <p:nvPr userDrawn="1"/>
        </p:nvGrpSpPr>
        <p:grpSpPr>
          <a:xfrm>
            <a:off x="-4353397" y="1"/>
            <a:ext cx="16544468" cy="6858001"/>
            <a:chOff x="-3265048" y="0"/>
            <a:chExt cx="12408351" cy="5143501"/>
          </a:xfrm>
        </p:grpSpPr>
        <p:pic>
          <p:nvPicPr>
            <p:cNvPr id="228" name="Google Shape;228;p25">
              <a:extLst>
                <a:ext uri="{C183D7F6-B498-43B3-948B-1728B52AA6E4}">
                  <adec:decorative xmlns:adec="http://schemas.microsoft.com/office/drawing/2017/decorative" val="1"/>
                </a:ext>
              </a:extLst>
            </p:cNvPr>
            <p:cNvPicPr preferRelativeResize="0"/>
            <p:nvPr/>
          </p:nvPicPr>
          <p:blipFill rotWithShape="1">
            <a:blip r:embed="rId2">
              <a:alphaModFix amt="50000"/>
            </a:blip>
            <a:srcRect/>
            <a:stretch/>
          </p:blipFill>
          <p:spPr>
            <a:xfrm flipH="1">
              <a:off x="3257360" y="0"/>
              <a:ext cx="5885013" cy="5143501"/>
            </a:xfrm>
            <a:prstGeom prst="rect">
              <a:avLst/>
            </a:prstGeom>
            <a:noFill/>
            <a:ln>
              <a:noFill/>
            </a:ln>
          </p:spPr>
        </p:pic>
        <p:pic>
          <p:nvPicPr>
            <p:cNvPr id="229" name="Google Shape;229;p25">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265048" y="1082633"/>
              <a:ext cx="3762369" cy="3762369"/>
            </a:xfrm>
            <a:prstGeom prst="rect">
              <a:avLst/>
            </a:prstGeom>
            <a:noFill/>
            <a:ln>
              <a:noFill/>
            </a:ln>
          </p:spPr>
        </p:pic>
        <p:sp>
          <p:nvSpPr>
            <p:cNvPr id="230" name="Google Shape;230;p25">
              <a:extLst>
                <a:ext uri="{C183D7F6-B498-43B3-948B-1728B52AA6E4}">
                  <adec:decorative xmlns:adec="http://schemas.microsoft.com/office/drawing/2017/decorative" val="1"/>
                </a:ext>
              </a:extLst>
            </p:cNvPr>
            <p:cNvSpPr/>
            <p:nvPr/>
          </p:nvSpPr>
          <p:spPr>
            <a:xfrm>
              <a:off x="6569512" y="2393959"/>
              <a:ext cx="1889100" cy="2172300"/>
            </a:xfrm>
            <a:prstGeom prst="rect">
              <a:avLst/>
            </a:prstGeom>
            <a:gradFill>
              <a:gsLst>
                <a:gs pos="0">
                  <a:srgbClr val="8661C5"/>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1" name="Google Shape;231;p25">
              <a:extLst>
                <a:ext uri="{C183D7F6-B498-43B3-948B-1728B52AA6E4}">
                  <adec:decorative xmlns:adec="http://schemas.microsoft.com/office/drawing/2017/decorative" val="1"/>
                </a:ext>
              </a:extLst>
            </p:cNvPr>
            <p:cNvSpPr/>
            <p:nvPr/>
          </p:nvSpPr>
          <p:spPr>
            <a:xfrm>
              <a:off x="4615351" y="2393958"/>
              <a:ext cx="1889100" cy="2172300"/>
            </a:xfrm>
            <a:prstGeom prst="rect">
              <a:avLst/>
            </a:prstGeom>
            <a:gradFill>
              <a:gsLst>
                <a:gs pos="0">
                  <a:srgbClr val="D59DFF"/>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2" name="Google Shape;232;p25">
              <a:extLst>
                <a:ext uri="{C183D7F6-B498-43B3-948B-1728B52AA6E4}">
                  <adec:decorative xmlns:adec="http://schemas.microsoft.com/office/drawing/2017/decorative" val="1"/>
                </a:ext>
              </a:extLst>
            </p:cNvPr>
            <p:cNvSpPr/>
            <p:nvPr/>
          </p:nvSpPr>
          <p:spPr>
            <a:xfrm>
              <a:off x="2649705" y="2393958"/>
              <a:ext cx="1889100" cy="2172300"/>
            </a:xfrm>
            <a:prstGeom prst="rect">
              <a:avLst/>
            </a:prstGeom>
            <a:gradFill>
              <a:gsLst>
                <a:gs pos="0">
                  <a:srgbClr val="1F9CF0"/>
                </a:gs>
                <a:gs pos="100000">
                  <a:srgbClr val="9477E2">
                    <a:alpha val="4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3" name="Google Shape;233;p25">
              <a:extLst>
                <a:ext uri="{C183D7F6-B498-43B3-948B-1728B52AA6E4}">
                  <adec:decorative xmlns:adec="http://schemas.microsoft.com/office/drawing/2017/decorative" val="1"/>
                </a:ext>
              </a:extLst>
            </p:cNvPr>
            <p:cNvSpPr/>
            <p:nvPr/>
          </p:nvSpPr>
          <p:spPr>
            <a:xfrm>
              <a:off x="685473" y="2393958"/>
              <a:ext cx="1889100" cy="2172300"/>
            </a:xfrm>
            <a:prstGeom prst="rect">
              <a:avLst/>
            </a:prstGeom>
            <a:gradFill>
              <a:gsLst>
                <a:gs pos="0">
                  <a:srgbClr val="28AFEA"/>
                </a:gs>
                <a:gs pos="100000">
                  <a:srgbClr val="9477E2">
                    <a:alpha val="4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4" name="Google Shape;234;p25">
              <a:extLst>
                <a:ext uri="{C183D7F6-B498-43B3-948B-1728B52AA6E4}">
                  <adec:decorative xmlns:adec="http://schemas.microsoft.com/office/drawing/2017/decorative" val="1"/>
                </a:ext>
              </a:extLst>
            </p:cNvPr>
            <p:cNvSpPr/>
            <p:nvPr/>
          </p:nvSpPr>
          <p:spPr>
            <a:xfrm>
              <a:off x="2649740" y="4182769"/>
              <a:ext cx="1889100" cy="385800"/>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6" name="Google Shape;236;p25">
              <a:extLst>
                <a:ext uri="{C183D7F6-B498-43B3-948B-1728B52AA6E4}">
                  <adec:decorative xmlns:adec="http://schemas.microsoft.com/office/drawing/2017/decorative" val="1"/>
                </a:ext>
              </a:extLst>
            </p:cNvPr>
            <p:cNvSpPr/>
            <p:nvPr/>
          </p:nvSpPr>
          <p:spPr>
            <a:xfrm>
              <a:off x="4615463" y="4184951"/>
              <a:ext cx="1889080" cy="381697"/>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8" name="Google Shape;238;p25">
              <a:extLst>
                <a:ext uri="{C183D7F6-B498-43B3-948B-1728B52AA6E4}">
                  <adec:decorative xmlns:adec="http://schemas.microsoft.com/office/drawing/2017/decorative" val="1"/>
                </a:ext>
              </a:extLst>
            </p:cNvPr>
            <p:cNvSpPr/>
            <p:nvPr/>
          </p:nvSpPr>
          <p:spPr>
            <a:xfrm>
              <a:off x="6569547" y="4186978"/>
              <a:ext cx="1889080" cy="379728"/>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46" name="Google Shape;246;p25"/>
            <p:cNvSpPr/>
            <p:nvPr/>
          </p:nvSpPr>
          <p:spPr>
            <a:xfrm>
              <a:off x="684095" y="4180741"/>
              <a:ext cx="1892461" cy="385916"/>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35" name="Google Shape;67;p15">
              <a:extLst>
                <a:ext uri="{FF2B5EF4-FFF2-40B4-BE49-F238E27FC236}">
                  <a16:creationId xmlns:a16="http://schemas.microsoft.com/office/drawing/2014/main" id="{D3AEE409-2C09-0B44-9722-66FE7D0E0553}"/>
                </a:ex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2" name="Google Shape;261;p26">
              <a:extLst>
                <a:ext uri="{FF2B5EF4-FFF2-40B4-BE49-F238E27FC236}">
                  <a16:creationId xmlns:a16="http://schemas.microsoft.com/office/drawing/2014/main" id="{F4ACC8A5-BEBF-CE52-5438-EF2C0F9B123E}"/>
                </a:ext>
                <a:ext uri="{C183D7F6-B498-43B3-948B-1728B52AA6E4}">
                  <adec:decorative xmlns:adec="http://schemas.microsoft.com/office/drawing/2017/decorative" val="1"/>
                </a:ext>
              </a:extLst>
            </p:cNvPr>
            <p:cNvSpPr/>
            <p:nvPr/>
          </p:nvSpPr>
          <p:spPr>
            <a:xfrm rot="10800000">
              <a:off x="998900" y="0"/>
              <a:ext cx="73200" cy="128016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33" name="Google Shape;262;p26">
            <a:extLst>
              <a:ext uri="{FF2B5EF4-FFF2-40B4-BE49-F238E27FC236}">
                <a16:creationId xmlns:a16="http://schemas.microsoft.com/office/drawing/2014/main" id="{4CD789D4-8522-B2D3-95F4-34B3B0D7B268}"/>
              </a:ext>
            </a:extLst>
          </p:cNvPr>
          <p:cNvSpPr txBox="1">
            <a:spLocks noGrp="1"/>
          </p:cNvSpPr>
          <p:nvPr>
            <p:ph type="title"/>
          </p:nvPr>
        </p:nvSpPr>
        <p:spPr>
          <a:xfrm>
            <a:off x="1633734" y="91966"/>
            <a:ext cx="5364400" cy="1706881"/>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41" name="Google Shape;241;p25"/>
          <p:cNvSpPr>
            <a:spLocks noGrp="1"/>
          </p:cNvSpPr>
          <p:nvPr>
            <p:ph type="pic" idx="2"/>
          </p:nvPr>
        </p:nvSpPr>
        <p:spPr>
          <a:xfrm>
            <a:off x="1060704"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40" name="Google Shape;240;p25"/>
          <p:cNvSpPr txBox="1">
            <a:spLocks noGrp="1"/>
          </p:cNvSpPr>
          <p:nvPr>
            <p:ph type="body" idx="1"/>
          </p:nvPr>
        </p:nvSpPr>
        <p:spPr>
          <a:xfrm>
            <a:off x="914400" y="4530591"/>
            <a:ext cx="2523600" cy="756000"/>
          </a:xfrm>
          <a:prstGeom prst="rect">
            <a:avLst/>
          </a:prstGeom>
        </p:spPr>
        <p:txBody>
          <a:bodyPr spcFirstLastPara="1" wrap="square" lIns="82275" tIns="18275" rIns="45700" bIns="18275" anchor="t" anchorCtr="0">
            <a:noAutofit/>
          </a:bodyPr>
          <a:lstStyle>
            <a:lvl1pPr marL="0" lvl="0" indent="0" algn="ctr">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a:lnSpc>
                <a:spcPct val="100000"/>
              </a:lnSpc>
              <a:spcBef>
                <a:spcPts val="0"/>
              </a:spcBef>
              <a:spcAft>
                <a:spcPts val="0"/>
              </a:spcAft>
              <a:buClr>
                <a:schemeClr val="lt1"/>
              </a:buClr>
              <a:buSzPts val="1100"/>
              <a:buChar char="○"/>
              <a:defRPr sz="1464">
                <a:solidFill>
                  <a:schemeClr val="lt1"/>
                </a:solidFill>
              </a:defRPr>
            </a:lvl2pPr>
            <a:lvl3pPr marL="1825943" lvl="2" indent="-397312">
              <a:lnSpc>
                <a:spcPct val="100000"/>
              </a:lnSpc>
              <a:spcBef>
                <a:spcPts val="0"/>
              </a:spcBef>
              <a:spcAft>
                <a:spcPts val="0"/>
              </a:spcAft>
              <a:buClr>
                <a:schemeClr val="lt1"/>
              </a:buClr>
              <a:buSzPts val="1100"/>
              <a:buChar char="■"/>
              <a:defRPr sz="1464">
                <a:solidFill>
                  <a:schemeClr val="lt1"/>
                </a:solidFill>
              </a:defRPr>
            </a:lvl3pPr>
            <a:lvl4pPr marL="2434590" lvl="3" indent="-397312">
              <a:lnSpc>
                <a:spcPct val="100000"/>
              </a:lnSpc>
              <a:spcBef>
                <a:spcPts val="0"/>
              </a:spcBef>
              <a:spcAft>
                <a:spcPts val="0"/>
              </a:spcAft>
              <a:buClr>
                <a:schemeClr val="lt1"/>
              </a:buClr>
              <a:buSzPts val="1100"/>
              <a:buChar char="●"/>
              <a:defRPr sz="1464">
                <a:solidFill>
                  <a:schemeClr val="lt1"/>
                </a:solidFill>
              </a:defRPr>
            </a:lvl4pPr>
            <a:lvl5pPr marL="3043238" lvl="4" indent="-397312">
              <a:lnSpc>
                <a:spcPct val="100000"/>
              </a:lnSpc>
              <a:spcBef>
                <a:spcPts val="0"/>
              </a:spcBef>
              <a:spcAft>
                <a:spcPts val="0"/>
              </a:spcAft>
              <a:buClr>
                <a:schemeClr val="lt1"/>
              </a:buClr>
              <a:buSzPts val="1100"/>
              <a:buChar char="○"/>
              <a:defRPr sz="1464">
                <a:solidFill>
                  <a:schemeClr val="lt1"/>
                </a:solidFill>
              </a:defRPr>
            </a:lvl5pPr>
            <a:lvl6pPr marL="3651885" lvl="5" indent="-397312">
              <a:lnSpc>
                <a:spcPct val="100000"/>
              </a:lnSpc>
              <a:spcBef>
                <a:spcPts val="0"/>
              </a:spcBef>
              <a:spcAft>
                <a:spcPts val="0"/>
              </a:spcAft>
              <a:buClr>
                <a:schemeClr val="lt1"/>
              </a:buClr>
              <a:buSzPts val="1100"/>
              <a:buChar char="■"/>
              <a:defRPr sz="1464">
                <a:solidFill>
                  <a:schemeClr val="lt1"/>
                </a:solidFill>
              </a:defRPr>
            </a:lvl6pPr>
            <a:lvl7pPr marL="4260533" lvl="6" indent="-397312">
              <a:lnSpc>
                <a:spcPct val="100000"/>
              </a:lnSpc>
              <a:spcBef>
                <a:spcPts val="0"/>
              </a:spcBef>
              <a:spcAft>
                <a:spcPts val="0"/>
              </a:spcAft>
              <a:buClr>
                <a:schemeClr val="lt1"/>
              </a:buClr>
              <a:buSzPts val="1100"/>
              <a:buChar char="●"/>
              <a:defRPr sz="1464">
                <a:solidFill>
                  <a:schemeClr val="lt1"/>
                </a:solidFill>
              </a:defRPr>
            </a:lvl7pPr>
            <a:lvl8pPr marL="4869180" lvl="7" indent="-397312">
              <a:lnSpc>
                <a:spcPct val="100000"/>
              </a:lnSpc>
              <a:spcBef>
                <a:spcPts val="0"/>
              </a:spcBef>
              <a:spcAft>
                <a:spcPts val="0"/>
              </a:spcAft>
              <a:buClr>
                <a:schemeClr val="lt1"/>
              </a:buClr>
              <a:buSzPts val="1100"/>
              <a:buChar char="○"/>
              <a:defRPr sz="1464">
                <a:solidFill>
                  <a:schemeClr val="lt1"/>
                </a:solidFill>
              </a:defRPr>
            </a:lvl8pPr>
            <a:lvl9pPr marL="5477828" lvl="8" indent="-397312">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47" name="Google Shape;247;p25" descr="LinkedIn logo"/>
          <p:cNvPicPr preferRelativeResize="0"/>
          <p:nvPr/>
        </p:nvPicPr>
        <p:blipFill rotWithShape="1">
          <a:blip r:embed="rId4">
            <a:alphaModFix/>
          </a:blip>
          <a:srcRect/>
          <a:stretch/>
        </p:blipFill>
        <p:spPr>
          <a:xfrm>
            <a:off x="1065437" y="5733397"/>
            <a:ext cx="202134" cy="201833"/>
          </a:xfrm>
          <a:prstGeom prst="rect">
            <a:avLst/>
          </a:prstGeom>
          <a:noFill/>
          <a:ln>
            <a:noFill/>
          </a:ln>
        </p:spPr>
      </p:pic>
      <p:sp>
        <p:nvSpPr>
          <p:cNvPr id="248" name="Google Shape;248;p25"/>
          <p:cNvSpPr txBox="1">
            <a:spLocks noGrp="1"/>
          </p:cNvSpPr>
          <p:nvPr>
            <p:ph type="body" idx="6"/>
          </p:nvPr>
        </p:nvSpPr>
        <p:spPr>
          <a:xfrm>
            <a:off x="1377696"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29" name="Google Shape;241;p25">
            <a:extLst>
              <a:ext uri="{FF2B5EF4-FFF2-40B4-BE49-F238E27FC236}">
                <a16:creationId xmlns:a16="http://schemas.microsoft.com/office/drawing/2014/main" id="{142531D6-B640-1B4A-ACA4-7F77C49FF2CB}"/>
              </a:ext>
            </a:extLst>
          </p:cNvPr>
          <p:cNvSpPr>
            <a:spLocks noGrp="1"/>
          </p:cNvSpPr>
          <p:nvPr>
            <p:ph type="pic" idx="16"/>
          </p:nvPr>
        </p:nvSpPr>
        <p:spPr>
          <a:xfrm>
            <a:off x="3688941"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2" name="Google Shape;252;p25"/>
          <p:cNvSpPr txBox="1">
            <a:spLocks noGrp="1"/>
          </p:cNvSpPr>
          <p:nvPr>
            <p:ph type="body" idx="13"/>
          </p:nvPr>
        </p:nvSpPr>
        <p:spPr>
          <a:xfrm>
            <a:off x="353568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5" name="Google Shape;235;p25" descr="LinkedIn logo"/>
          <p:cNvPicPr preferRelativeResize="0"/>
          <p:nvPr/>
        </p:nvPicPr>
        <p:blipFill rotWithShape="1">
          <a:blip r:embed="rId4">
            <a:alphaModFix/>
          </a:blip>
          <a:srcRect/>
          <a:stretch/>
        </p:blipFill>
        <p:spPr>
          <a:xfrm>
            <a:off x="3671795" y="5736100"/>
            <a:ext cx="202134" cy="201833"/>
          </a:xfrm>
          <a:prstGeom prst="rect">
            <a:avLst/>
          </a:prstGeom>
          <a:noFill/>
          <a:ln>
            <a:noFill/>
          </a:ln>
        </p:spPr>
      </p:pic>
      <p:sp>
        <p:nvSpPr>
          <p:cNvPr id="249" name="Google Shape;249;p25"/>
          <p:cNvSpPr txBox="1">
            <a:spLocks noGrp="1"/>
          </p:cNvSpPr>
          <p:nvPr>
            <p:ph type="body" idx="7"/>
          </p:nvPr>
        </p:nvSpPr>
        <p:spPr>
          <a:xfrm>
            <a:off x="3986784"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0" name="Google Shape;241;p25">
            <a:extLst>
              <a:ext uri="{FF2B5EF4-FFF2-40B4-BE49-F238E27FC236}">
                <a16:creationId xmlns:a16="http://schemas.microsoft.com/office/drawing/2014/main" id="{2C173A1D-BB63-5640-BB62-7AD820030C48}"/>
              </a:ext>
            </a:extLst>
          </p:cNvPr>
          <p:cNvSpPr>
            <a:spLocks noGrp="1"/>
          </p:cNvSpPr>
          <p:nvPr>
            <p:ph type="pic" idx="17"/>
          </p:nvPr>
        </p:nvSpPr>
        <p:spPr>
          <a:xfrm>
            <a:off x="6309802"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3" name="Google Shape;253;p25"/>
          <p:cNvSpPr txBox="1">
            <a:spLocks noGrp="1"/>
          </p:cNvSpPr>
          <p:nvPr>
            <p:ph type="body" idx="14"/>
          </p:nvPr>
        </p:nvSpPr>
        <p:spPr>
          <a:xfrm>
            <a:off x="615696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7" name="Google Shape;237;p25" descr="LinkedIn logo"/>
          <p:cNvPicPr preferRelativeResize="0"/>
          <p:nvPr/>
        </p:nvPicPr>
        <p:blipFill rotWithShape="1">
          <a:blip r:embed="rId4">
            <a:alphaModFix/>
          </a:blip>
          <a:srcRect/>
          <a:stretch/>
        </p:blipFill>
        <p:spPr>
          <a:xfrm>
            <a:off x="6291610" y="5739009"/>
            <a:ext cx="202134" cy="201833"/>
          </a:xfrm>
          <a:prstGeom prst="rect">
            <a:avLst/>
          </a:prstGeom>
          <a:noFill/>
          <a:ln>
            <a:noFill/>
          </a:ln>
        </p:spPr>
      </p:pic>
      <p:sp>
        <p:nvSpPr>
          <p:cNvPr id="250" name="Google Shape;250;p25"/>
          <p:cNvSpPr txBox="1">
            <a:spLocks noGrp="1"/>
          </p:cNvSpPr>
          <p:nvPr>
            <p:ph type="body" idx="8"/>
          </p:nvPr>
        </p:nvSpPr>
        <p:spPr>
          <a:xfrm>
            <a:off x="6608065"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1" name="Google Shape;241;p25">
            <a:extLst>
              <a:ext uri="{FF2B5EF4-FFF2-40B4-BE49-F238E27FC236}">
                <a16:creationId xmlns:a16="http://schemas.microsoft.com/office/drawing/2014/main" id="{A8662F1C-F639-0647-953E-6AF9B3C4E108}"/>
              </a:ext>
            </a:extLst>
          </p:cNvPr>
          <p:cNvSpPr>
            <a:spLocks noGrp="1"/>
          </p:cNvSpPr>
          <p:nvPr>
            <p:ph type="pic" idx="18"/>
          </p:nvPr>
        </p:nvSpPr>
        <p:spPr>
          <a:xfrm>
            <a:off x="8915350"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4" name="Google Shape;254;p25"/>
          <p:cNvSpPr txBox="1">
            <a:spLocks noGrp="1"/>
          </p:cNvSpPr>
          <p:nvPr>
            <p:ph type="body" idx="15"/>
          </p:nvPr>
        </p:nvSpPr>
        <p:spPr>
          <a:xfrm>
            <a:off x="877824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9" name="Google Shape;239;p25" descr="LinkedIn logo"/>
          <p:cNvPicPr preferRelativeResize="0"/>
          <p:nvPr/>
        </p:nvPicPr>
        <p:blipFill rotWithShape="1">
          <a:blip r:embed="rId4">
            <a:alphaModFix/>
          </a:blip>
          <a:srcRect/>
          <a:stretch/>
        </p:blipFill>
        <p:spPr>
          <a:xfrm>
            <a:off x="8902015" y="5741713"/>
            <a:ext cx="202134" cy="201833"/>
          </a:xfrm>
          <a:prstGeom prst="rect">
            <a:avLst/>
          </a:prstGeom>
          <a:noFill/>
          <a:ln>
            <a:noFill/>
          </a:ln>
        </p:spPr>
      </p:pic>
      <p:sp>
        <p:nvSpPr>
          <p:cNvPr id="251" name="Google Shape;251;p25"/>
          <p:cNvSpPr txBox="1">
            <a:spLocks noGrp="1"/>
          </p:cNvSpPr>
          <p:nvPr>
            <p:ph type="body" idx="9"/>
          </p:nvPr>
        </p:nvSpPr>
        <p:spPr>
          <a:xfrm>
            <a:off x="9217153"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4" name="Google Shape;268;p27">
            <a:extLst>
              <a:ext uri="{FF2B5EF4-FFF2-40B4-BE49-F238E27FC236}">
                <a16:creationId xmlns:a16="http://schemas.microsoft.com/office/drawing/2014/main" id="{5F31D209-DE2E-1B4B-B119-6820B2255B1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B5060DAC-EC5D-F051-89A1-C006C6C0551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01396561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matchingName="Speaker Intro" preserve="1">
  <p:cSld name="Speaker Intro">
    <p:spTree>
      <p:nvGrpSpPr>
        <p:cNvPr id="1" name="Shape 255"/>
        <p:cNvGrpSpPr/>
        <p:nvPr/>
      </p:nvGrpSpPr>
      <p:grpSpPr>
        <a:xfrm>
          <a:off x="0" y="0"/>
          <a:ext cx="0" cy="0"/>
          <a:chOff x="0" y="0"/>
          <a:chExt cx="0" cy="0"/>
        </a:xfrm>
      </p:grpSpPr>
      <p:grpSp>
        <p:nvGrpSpPr>
          <p:cNvPr id="2" name="Group 1">
            <a:extLst>
              <a:ext uri="{FF2B5EF4-FFF2-40B4-BE49-F238E27FC236}">
                <a16:creationId xmlns:a16="http://schemas.microsoft.com/office/drawing/2014/main" id="{018A83E5-E863-3A66-1EC3-C2183322C3CD}"/>
              </a:ext>
              <a:ext uri="{C183D7F6-B498-43B3-948B-1728B52AA6E4}">
                <adec:decorative xmlns:adec="http://schemas.microsoft.com/office/drawing/2017/decorative" val="1"/>
              </a:ext>
            </a:extLst>
          </p:cNvPr>
          <p:cNvGrpSpPr/>
          <p:nvPr userDrawn="1"/>
        </p:nvGrpSpPr>
        <p:grpSpPr>
          <a:xfrm>
            <a:off x="-4218439" y="-3437"/>
            <a:ext cx="16409510" cy="6858001"/>
            <a:chOff x="-3163830" y="-2578"/>
            <a:chExt cx="12307133" cy="5143501"/>
          </a:xfrm>
        </p:grpSpPr>
        <p:cxnSp>
          <p:nvCxnSpPr>
            <p:cNvPr id="11" name="Google Shape;67;p15">
              <a:extLst>
                <a:ext uri="{FF2B5EF4-FFF2-40B4-BE49-F238E27FC236}">
                  <a16:creationId xmlns:a16="http://schemas.microsoft.com/office/drawing/2014/main" id="{C7784FB6-741B-9D49-B3F9-9C37B009343C}"/>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56" name="Google Shape;256;p26">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flipH="1">
              <a:off x="3247837" y="-2578"/>
              <a:ext cx="5885013" cy="5143501"/>
            </a:xfrm>
            <a:prstGeom prst="rect">
              <a:avLst/>
            </a:prstGeom>
            <a:noFill/>
            <a:ln>
              <a:noFill/>
            </a:ln>
          </p:spPr>
        </p:pic>
        <p:sp>
          <p:nvSpPr>
            <p:cNvPr id="257" name="Google Shape;257;p26">
              <a:extLst>
                <a:ext uri="{C183D7F6-B498-43B3-948B-1728B52AA6E4}">
                  <adec:decorative xmlns:adec="http://schemas.microsoft.com/office/drawing/2017/decorative" val="1"/>
                </a:ext>
              </a:extLst>
            </p:cNvPr>
            <p:cNvSpPr/>
            <p:nvPr/>
          </p:nvSpPr>
          <p:spPr>
            <a:xfrm>
              <a:off x="1265478" y="2963817"/>
              <a:ext cx="3991200" cy="5628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sp>
          <p:nvSpPr>
            <p:cNvPr id="258" name="Google Shape;258;p26">
              <a:extLst>
                <a:ext uri="{C183D7F6-B498-43B3-948B-1728B52AA6E4}">
                  <adec:decorative xmlns:adec="http://schemas.microsoft.com/office/drawing/2017/decorative" val="1"/>
                </a:ext>
              </a:extLst>
            </p:cNvPr>
            <p:cNvSpPr/>
            <p:nvPr/>
          </p:nvSpPr>
          <p:spPr>
            <a:xfrm>
              <a:off x="1265478" y="1857388"/>
              <a:ext cx="3991200" cy="1106400"/>
            </a:xfrm>
            <a:prstGeom prst="roundRect">
              <a:avLst>
                <a:gd name="adj" fmla="val 371"/>
              </a:avLst>
            </a:prstGeom>
            <a:gradFill>
              <a:gsLst>
                <a:gs pos="0">
                  <a:srgbClr val="1F9CF0"/>
                </a:gs>
                <a:gs pos="2000">
                  <a:srgbClr val="1F9CF0"/>
                </a:gs>
                <a:gs pos="100000">
                  <a:srgbClr val="9477E2"/>
                </a:gs>
              </a:gsLst>
              <a:path path="circle">
                <a:fillToRect l="50000" t="50000" r="50000" b="50000"/>
              </a:path>
              <a:tileRect/>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pic>
          <p:nvPicPr>
            <p:cNvPr id="259" name="Google Shape;259;p26"/>
            <p:cNvPicPr preferRelativeResize="0"/>
            <p:nvPr/>
          </p:nvPicPr>
          <p:blipFill rotWithShape="1">
            <a:blip r:embed="rId3">
              <a:alphaModFix amt="30000"/>
            </a:blip>
            <a:srcRect/>
            <a:stretch/>
          </p:blipFill>
          <p:spPr>
            <a:xfrm>
              <a:off x="-3163830" y="1082633"/>
              <a:ext cx="3762369" cy="3762369"/>
            </a:xfrm>
            <a:prstGeom prst="rect">
              <a:avLst/>
            </a:prstGeom>
            <a:noFill/>
            <a:ln>
              <a:noFill/>
            </a:ln>
          </p:spPr>
        </p:pic>
        <p:sp>
          <p:nvSpPr>
            <p:cNvPr id="261" name="Google Shape;261;p26">
              <a:extLst>
                <a:ext uri="{C183D7F6-B498-43B3-948B-1728B52AA6E4}">
                  <adec:decorative xmlns:adec="http://schemas.microsoft.com/office/drawing/2017/decorative" val="1"/>
                </a:ext>
              </a:extLst>
            </p:cNvPr>
            <p:cNvSpPr/>
            <p:nvPr/>
          </p:nvSpPr>
          <p:spPr>
            <a:xfrm rot="10800000">
              <a:off x="998900" y="125"/>
              <a:ext cx="73200" cy="16086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262" name="Google Shape;262;p26"/>
          <p:cNvSpPr txBox="1">
            <a:spLocks noGrp="1"/>
          </p:cNvSpPr>
          <p:nvPr>
            <p:ph type="title"/>
          </p:nvPr>
        </p:nvSpPr>
        <p:spPr>
          <a:xfrm>
            <a:off x="1633734" y="1187133"/>
            <a:ext cx="5364400" cy="11216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 name="Google Shape;263;p26"/>
          <p:cNvSpPr txBox="1">
            <a:spLocks noGrp="1"/>
          </p:cNvSpPr>
          <p:nvPr>
            <p:ph type="body" idx="1"/>
          </p:nvPr>
        </p:nvSpPr>
        <p:spPr>
          <a:xfrm>
            <a:off x="1914144" y="2682233"/>
            <a:ext cx="4864800" cy="10972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Clr>
                <a:schemeClr val="lt1"/>
              </a:buClr>
              <a:buSzPts val="1700"/>
              <a:buNone/>
              <a:defRPr sz="2263" b="0" i="0">
                <a:solidFill>
                  <a:schemeClr val="lt1"/>
                </a:solidFill>
                <a:latin typeface="Helvetica" pitchFamily="2" charset="0"/>
              </a:defRPr>
            </a:lvl1pPr>
            <a:lvl2pPr marL="1217295" lvl="1" indent="-448033">
              <a:lnSpc>
                <a:spcPct val="100000"/>
              </a:lnSpc>
              <a:spcBef>
                <a:spcPts val="0"/>
              </a:spcBef>
              <a:spcAft>
                <a:spcPts val="0"/>
              </a:spcAft>
              <a:buClr>
                <a:schemeClr val="lt1"/>
              </a:buClr>
              <a:buSzPts val="1700"/>
              <a:buChar char="○"/>
              <a:defRPr sz="2263">
                <a:solidFill>
                  <a:schemeClr val="lt1"/>
                </a:solidFill>
              </a:defRPr>
            </a:lvl2pPr>
            <a:lvl3pPr marL="1825943" lvl="2" indent="-448033">
              <a:lnSpc>
                <a:spcPct val="100000"/>
              </a:lnSpc>
              <a:spcBef>
                <a:spcPts val="0"/>
              </a:spcBef>
              <a:spcAft>
                <a:spcPts val="0"/>
              </a:spcAft>
              <a:buClr>
                <a:schemeClr val="lt1"/>
              </a:buClr>
              <a:buSzPts val="1700"/>
              <a:buChar char="■"/>
              <a:defRPr sz="2263">
                <a:solidFill>
                  <a:schemeClr val="lt1"/>
                </a:solidFill>
              </a:defRPr>
            </a:lvl3pPr>
            <a:lvl4pPr marL="2434590" lvl="3" indent="-448033">
              <a:lnSpc>
                <a:spcPct val="100000"/>
              </a:lnSpc>
              <a:spcBef>
                <a:spcPts val="0"/>
              </a:spcBef>
              <a:spcAft>
                <a:spcPts val="0"/>
              </a:spcAft>
              <a:buClr>
                <a:schemeClr val="lt1"/>
              </a:buClr>
              <a:buSzPts val="1700"/>
              <a:buChar char="●"/>
              <a:defRPr sz="2263">
                <a:solidFill>
                  <a:schemeClr val="lt1"/>
                </a:solidFill>
              </a:defRPr>
            </a:lvl4pPr>
            <a:lvl5pPr marL="3043238" lvl="4" indent="-448033">
              <a:lnSpc>
                <a:spcPct val="100000"/>
              </a:lnSpc>
              <a:spcBef>
                <a:spcPts val="0"/>
              </a:spcBef>
              <a:spcAft>
                <a:spcPts val="0"/>
              </a:spcAft>
              <a:buClr>
                <a:schemeClr val="lt1"/>
              </a:buClr>
              <a:buSzPts val="1700"/>
              <a:buChar char="○"/>
              <a:defRPr sz="2263">
                <a:solidFill>
                  <a:schemeClr val="lt1"/>
                </a:solidFill>
              </a:defRPr>
            </a:lvl5pPr>
            <a:lvl6pPr marL="3651885" lvl="5" indent="-448033">
              <a:lnSpc>
                <a:spcPct val="100000"/>
              </a:lnSpc>
              <a:spcBef>
                <a:spcPts val="0"/>
              </a:spcBef>
              <a:spcAft>
                <a:spcPts val="0"/>
              </a:spcAft>
              <a:buClr>
                <a:schemeClr val="lt1"/>
              </a:buClr>
              <a:buSzPts val="1700"/>
              <a:buChar char="■"/>
              <a:defRPr sz="2263">
                <a:solidFill>
                  <a:schemeClr val="lt1"/>
                </a:solidFill>
              </a:defRPr>
            </a:lvl6pPr>
            <a:lvl7pPr marL="4260533" lvl="6" indent="-448033">
              <a:lnSpc>
                <a:spcPct val="100000"/>
              </a:lnSpc>
              <a:spcBef>
                <a:spcPts val="0"/>
              </a:spcBef>
              <a:spcAft>
                <a:spcPts val="0"/>
              </a:spcAft>
              <a:buClr>
                <a:schemeClr val="lt1"/>
              </a:buClr>
              <a:buSzPts val="1700"/>
              <a:buChar char="●"/>
              <a:defRPr sz="2263">
                <a:solidFill>
                  <a:schemeClr val="lt1"/>
                </a:solidFill>
              </a:defRPr>
            </a:lvl7pPr>
            <a:lvl8pPr marL="4869180" lvl="7" indent="-448033">
              <a:lnSpc>
                <a:spcPct val="100000"/>
              </a:lnSpc>
              <a:spcBef>
                <a:spcPts val="0"/>
              </a:spcBef>
              <a:spcAft>
                <a:spcPts val="0"/>
              </a:spcAft>
              <a:buClr>
                <a:schemeClr val="lt1"/>
              </a:buClr>
              <a:buSzPts val="1700"/>
              <a:buChar char="○"/>
              <a:defRPr sz="2263">
                <a:solidFill>
                  <a:schemeClr val="lt1"/>
                </a:solidFill>
              </a:defRPr>
            </a:lvl8pPr>
            <a:lvl9pPr marL="5477828" lvl="8" indent="-448033">
              <a:lnSpc>
                <a:spcPct val="100000"/>
              </a:lnSpc>
              <a:spcBef>
                <a:spcPts val="0"/>
              </a:spcBef>
              <a:spcAft>
                <a:spcPts val="0"/>
              </a:spcAft>
              <a:buClr>
                <a:schemeClr val="lt1"/>
              </a:buClr>
              <a:buSzPts val="1700"/>
              <a:buChar char="■"/>
              <a:defRPr sz="2263">
                <a:solidFill>
                  <a:schemeClr val="lt1"/>
                </a:solidFill>
              </a:defRPr>
            </a:lvl9pPr>
          </a:lstStyle>
          <a:p>
            <a:endParaRPr dirty="0"/>
          </a:p>
        </p:txBody>
      </p:sp>
      <p:pic>
        <p:nvPicPr>
          <p:cNvPr id="260" name="Google Shape;260;p26" descr="LinkedIn logo"/>
          <p:cNvPicPr preferRelativeResize="0"/>
          <p:nvPr/>
        </p:nvPicPr>
        <p:blipFill rotWithShape="1">
          <a:blip r:embed="rId4">
            <a:alphaModFix/>
          </a:blip>
          <a:srcRect/>
          <a:stretch/>
        </p:blipFill>
        <p:spPr>
          <a:xfrm>
            <a:off x="2026729" y="4199734"/>
            <a:ext cx="254410" cy="254409"/>
          </a:xfrm>
          <a:prstGeom prst="rect">
            <a:avLst/>
          </a:prstGeom>
          <a:noFill/>
          <a:ln>
            <a:noFill/>
          </a:ln>
        </p:spPr>
      </p:pic>
      <p:sp>
        <p:nvSpPr>
          <p:cNvPr id="264" name="Google Shape;264;p26"/>
          <p:cNvSpPr txBox="1">
            <a:spLocks noGrp="1"/>
          </p:cNvSpPr>
          <p:nvPr>
            <p:ph type="body" idx="2"/>
          </p:nvPr>
        </p:nvSpPr>
        <p:spPr>
          <a:xfrm>
            <a:off x="2497686" y="4063514"/>
            <a:ext cx="3938000" cy="526848"/>
          </a:xfrm>
          <a:prstGeom prst="rect">
            <a:avLst/>
          </a:prstGeom>
        </p:spPr>
        <p:txBody>
          <a:bodyPr spcFirstLastPara="1" wrap="square" lIns="45700" tIns="18275" rIns="45700" bIns="18275" anchor="ctr" anchorCtr="0">
            <a:noAutofit/>
          </a:bodyPr>
          <a:lstStyle>
            <a:lvl1pPr marL="0" lvl="0" indent="0">
              <a:spcBef>
                <a:spcPts val="0"/>
              </a:spcBef>
              <a:spcAft>
                <a:spcPts val="0"/>
              </a:spcAft>
              <a:buClr>
                <a:schemeClr val="lt1"/>
              </a:buClr>
              <a:buSzPts val="1700"/>
              <a:buNone/>
              <a:defRPr sz="1864" b="0" i="0">
                <a:solidFill>
                  <a:schemeClr val="lt1"/>
                </a:solidFill>
                <a:latin typeface="Helvetica" pitchFamily="2" charset="0"/>
              </a:defRPr>
            </a:lvl1pPr>
            <a:lvl2pPr marL="1217295" lvl="1" indent="-448033">
              <a:spcBef>
                <a:spcPts val="0"/>
              </a:spcBef>
              <a:spcAft>
                <a:spcPts val="0"/>
              </a:spcAft>
              <a:buClr>
                <a:schemeClr val="lt1"/>
              </a:buClr>
              <a:buSzPts val="1700"/>
              <a:buChar char="○"/>
              <a:defRPr sz="2263">
                <a:solidFill>
                  <a:schemeClr val="lt1"/>
                </a:solidFill>
              </a:defRPr>
            </a:lvl2pPr>
            <a:lvl3pPr marL="1825943" lvl="2" indent="-448033">
              <a:spcBef>
                <a:spcPts val="0"/>
              </a:spcBef>
              <a:spcAft>
                <a:spcPts val="0"/>
              </a:spcAft>
              <a:buClr>
                <a:schemeClr val="lt1"/>
              </a:buClr>
              <a:buSzPts val="1700"/>
              <a:buChar char="■"/>
              <a:defRPr sz="2263">
                <a:solidFill>
                  <a:schemeClr val="lt1"/>
                </a:solidFill>
              </a:defRPr>
            </a:lvl3pPr>
            <a:lvl4pPr marL="2434590" lvl="3" indent="-448033">
              <a:spcBef>
                <a:spcPts val="0"/>
              </a:spcBef>
              <a:spcAft>
                <a:spcPts val="0"/>
              </a:spcAft>
              <a:buClr>
                <a:schemeClr val="lt1"/>
              </a:buClr>
              <a:buSzPts val="1700"/>
              <a:buChar char="●"/>
              <a:defRPr sz="2263">
                <a:solidFill>
                  <a:schemeClr val="lt1"/>
                </a:solidFill>
              </a:defRPr>
            </a:lvl4pPr>
            <a:lvl5pPr marL="3043238" lvl="4" indent="-448033">
              <a:spcBef>
                <a:spcPts val="0"/>
              </a:spcBef>
              <a:spcAft>
                <a:spcPts val="0"/>
              </a:spcAft>
              <a:buClr>
                <a:schemeClr val="lt1"/>
              </a:buClr>
              <a:buSzPts val="1700"/>
              <a:buChar char="○"/>
              <a:defRPr sz="2263">
                <a:solidFill>
                  <a:schemeClr val="lt1"/>
                </a:solidFill>
              </a:defRPr>
            </a:lvl5pPr>
            <a:lvl6pPr marL="3651885" lvl="5" indent="-448033">
              <a:spcBef>
                <a:spcPts val="0"/>
              </a:spcBef>
              <a:spcAft>
                <a:spcPts val="0"/>
              </a:spcAft>
              <a:buClr>
                <a:schemeClr val="lt1"/>
              </a:buClr>
              <a:buSzPts val="1700"/>
              <a:buChar char="■"/>
              <a:defRPr sz="2263">
                <a:solidFill>
                  <a:schemeClr val="lt1"/>
                </a:solidFill>
              </a:defRPr>
            </a:lvl6pPr>
            <a:lvl7pPr marL="4260533" lvl="6" indent="-448033">
              <a:spcBef>
                <a:spcPts val="0"/>
              </a:spcBef>
              <a:spcAft>
                <a:spcPts val="0"/>
              </a:spcAft>
              <a:buClr>
                <a:schemeClr val="lt1"/>
              </a:buClr>
              <a:buSzPts val="1700"/>
              <a:buChar char="●"/>
              <a:defRPr sz="2263">
                <a:solidFill>
                  <a:schemeClr val="lt1"/>
                </a:solidFill>
              </a:defRPr>
            </a:lvl7pPr>
            <a:lvl8pPr marL="4869180" lvl="7" indent="-448033">
              <a:spcBef>
                <a:spcPts val="0"/>
              </a:spcBef>
              <a:spcAft>
                <a:spcPts val="0"/>
              </a:spcAft>
              <a:buClr>
                <a:schemeClr val="lt1"/>
              </a:buClr>
              <a:buSzPts val="1700"/>
              <a:buChar char="○"/>
              <a:defRPr sz="2263">
                <a:solidFill>
                  <a:schemeClr val="lt1"/>
                </a:solidFill>
              </a:defRPr>
            </a:lvl8pPr>
            <a:lvl9pPr marL="5477828" lvl="8" indent="-448033">
              <a:spcBef>
                <a:spcPts val="0"/>
              </a:spcBef>
              <a:spcAft>
                <a:spcPts val="0"/>
              </a:spcAft>
              <a:buClr>
                <a:schemeClr val="lt1"/>
              </a:buClr>
              <a:buSzPts val="1700"/>
              <a:buChar char="■"/>
              <a:defRPr sz="2263">
                <a:solidFill>
                  <a:schemeClr val="lt1"/>
                </a:solidFill>
              </a:defRPr>
            </a:lvl9pPr>
          </a:lstStyle>
          <a:p>
            <a:endParaRPr dirty="0"/>
          </a:p>
        </p:txBody>
      </p:sp>
      <p:sp>
        <p:nvSpPr>
          <p:cNvPr id="6" name="Google Shape;56;p14">
            <a:extLst>
              <a:ext uri="{FF2B5EF4-FFF2-40B4-BE49-F238E27FC236}">
                <a16:creationId xmlns:a16="http://schemas.microsoft.com/office/drawing/2014/main" id="{EFF1BA08-15D6-FC01-043C-DFAA8894E07B}"/>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80617002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matchingName="Right Two Column" preserve="1">
  <p:cSld name="Right Two Column">
    <p:spTree>
      <p:nvGrpSpPr>
        <p:cNvPr id="1" name="Shape 265"/>
        <p:cNvGrpSpPr/>
        <p:nvPr/>
      </p:nvGrpSpPr>
      <p:grpSpPr>
        <a:xfrm>
          <a:off x="0" y="0"/>
          <a:ext cx="0" cy="0"/>
          <a:chOff x="0" y="0"/>
          <a:chExt cx="0" cy="0"/>
        </a:xfrm>
      </p:grpSpPr>
      <p:grpSp>
        <p:nvGrpSpPr>
          <p:cNvPr id="4" name="Group 3">
            <a:extLst>
              <a:ext uri="{FF2B5EF4-FFF2-40B4-BE49-F238E27FC236}">
                <a16:creationId xmlns:a16="http://schemas.microsoft.com/office/drawing/2014/main" id="{82E5456C-52E8-CE44-611E-94E2DB890FF7}"/>
              </a:ext>
              <a:ext uri="{C183D7F6-B498-43B3-948B-1728B52AA6E4}">
                <adec:decorative xmlns:adec="http://schemas.microsoft.com/office/drawing/2017/decorative" val="1"/>
              </a:ext>
            </a:extLst>
          </p:cNvPr>
          <p:cNvGrpSpPr/>
          <p:nvPr userDrawn="1"/>
        </p:nvGrpSpPr>
        <p:grpSpPr>
          <a:xfrm>
            <a:off x="-3799193" y="-757667"/>
            <a:ext cx="19969288" cy="8539200"/>
            <a:chOff x="-2849395" y="-568250"/>
            <a:chExt cx="14976966" cy="6404400"/>
          </a:xfrm>
        </p:grpSpPr>
        <p:grpSp>
          <p:nvGrpSpPr>
            <p:cNvPr id="3" name="Group 2">
              <a:extLst>
                <a:ext uri="{FF2B5EF4-FFF2-40B4-BE49-F238E27FC236}">
                  <a16:creationId xmlns:a16="http://schemas.microsoft.com/office/drawing/2014/main" id="{17F02D53-3842-E92D-041A-4A100EAA250A}"/>
                </a:ext>
              </a:extLst>
            </p:cNvPr>
            <p:cNvGrpSpPr/>
            <p:nvPr userDrawn="1"/>
          </p:nvGrpSpPr>
          <p:grpSpPr>
            <a:xfrm>
              <a:off x="-2849395" y="-568250"/>
              <a:ext cx="14976966" cy="6404400"/>
              <a:chOff x="-2849395" y="-568250"/>
              <a:chExt cx="14976966" cy="6404400"/>
            </a:xfrm>
          </p:grpSpPr>
          <p:sp>
            <p:nvSpPr>
              <p:cNvPr id="269" name="Google Shape;269;p27">
                <a:extLst>
                  <a:ext uri="{C183D7F6-B498-43B3-948B-1728B52AA6E4}">
                    <adec:decorative xmlns:adec="http://schemas.microsoft.com/office/drawing/2017/decorative" val="1"/>
                  </a:ext>
                </a:extLst>
              </p:cNvPr>
              <p:cNvSpPr/>
              <p:nvPr/>
            </p:nvSpPr>
            <p:spPr>
              <a:xfrm>
                <a:off x="-2849395" y="-568250"/>
                <a:ext cx="6414300" cy="6404400"/>
              </a:xfrm>
              <a:prstGeom prst="ellipse">
                <a:avLst/>
              </a:prstGeom>
              <a:gradFill>
                <a:gsLst>
                  <a:gs pos="0">
                    <a:srgbClr val="007ACC"/>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70" name="Google Shape;270;p27">
                <a:extLst>
                  <a:ext uri="{C183D7F6-B498-43B3-948B-1728B52AA6E4}">
                    <adec:decorative xmlns:adec="http://schemas.microsoft.com/office/drawing/2017/decorative" val="1"/>
                  </a:ext>
                </a:extLst>
              </p:cNvPr>
              <p:cNvSpPr/>
              <p:nvPr/>
            </p:nvSpPr>
            <p:spPr>
              <a:xfrm>
                <a:off x="719212" y="986442"/>
                <a:ext cx="1349700" cy="1347600"/>
              </a:xfrm>
              <a:prstGeom prst="ellipse">
                <a:avLst/>
              </a:prstGeom>
              <a:gradFill>
                <a:gsLst>
                  <a:gs pos="0">
                    <a:srgbClr val="8661C5"/>
                  </a:gs>
                  <a:gs pos="100000">
                    <a:srgbClr val="161828">
                      <a:alpha val="0"/>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72" name="Google Shape;272;p2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621803"/>
                <a:ext cx="3762369" cy="3762369"/>
              </a:xfrm>
              <a:prstGeom prst="rect">
                <a:avLst/>
              </a:prstGeom>
              <a:noFill/>
              <a:ln>
                <a:noFill/>
              </a:ln>
            </p:spPr>
          </p:pic>
          <p:cxnSp>
            <p:nvCxnSpPr>
              <p:cNvPr id="17" name="Google Shape;67;p15">
                <a:extLst>
                  <a:ext uri="{FF2B5EF4-FFF2-40B4-BE49-F238E27FC236}">
                    <a16:creationId xmlns:a16="http://schemas.microsoft.com/office/drawing/2014/main" id="{77D23077-C636-7041-8945-BC542592AEE5}"/>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cxnSp>
          <p:nvCxnSpPr>
            <p:cNvPr id="271" name="Google Shape;271;p27">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274" name="Google Shape;274;p2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73" name="Google Shape;273;p2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a:lnSpc>
                <a:spcPct val="100000"/>
              </a:lnSpc>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275" name="Google Shape;275;p27"/>
          <p:cNvSpPr txBox="1">
            <a:spLocks noGrp="1"/>
          </p:cNvSpPr>
          <p:nvPr>
            <p:ph type="title" idx="2"/>
          </p:nvPr>
        </p:nvSpPr>
        <p:spPr>
          <a:xfrm>
            <a:off x="6705600" y="2828544"/>
            <a:ext cx="1402000" cy="536400"/>
          </a:xfrm>
          <a:prstGeom prst="rect">
            <a:avLst/>
          </a:prstGeom>
        </p:spPr>
        <p:txBody>
          <a:bodyPr spcFirstLastPara="1" wrap="square" lIns="45700" tIns="18275" rIns="45700" bIns="18275" anchor="t" anchorCtr="0">
            <a:noAutofit/>
          </a:bodyPr>
          <a:lstStyle>
            <a:lvl1pPr lvl="0" algn="ctr">
              <a:lnSpc>
                <a:spcPct val="100000"/>
              </a:lnSpc>
              <a:spcBef>
                <a:spcPts val="0"/>
              </a:spcBef>
              <a:spcAft>
                <a:spcPts val="0"/>
              </a:spcAft>
              <a:buSzPts val="2300"/>
              <a:buNone/>
              <a:defRPr sz="3062" b="1" i="0">
                <a:latin typeface="Helvetica" pitchFamily="2" charset="0"/>
              </a:defRPr>
            </a:lvl1pPr>
            <a:lvl2pPr lvl="1" algn="ctr">
              <a:spcBef>
                <a:spcPts val="0"/>
              </a:spcBef>
              <a:spcAft>
                <a:spcPts val="0"/>
              </a:spcAft>
              <a:buSzPts val="2300"/>
              <a:buNone/>
              <a:defRPr sz="3062"/>
            </a:lvl2pPr>
            <a:lvl3pPr lvl="2" algn="ctr">
              <a:spcBef>
                <a:spcPts val="0"/>
              </a:spcBef>
              <a:spcAft>
                <a:spcPts val="0"/>
              </a:spcAft>
              <a:buSzPts val="2300"/>
              <a:buNone/>
              <a:defRPr sz="3062"/>
            </a:lvl3pPr>
            <a:lvl4pPr lvl="3" algn="ctr">
              <a:spcBef>
                <a:spcPts val="0"/>
              </a:spcBef>
              <a:spcAft>
                <a:spcPts val="0"/>
              </a:spcAft>
              <a:buSzPts val="2300"/>
              <a:buNone/>
              <a:defRPr sz="3062"/>
            </a:lvl4pPr>
            <a:lvl5pPr lvl="4" algn="ctr">
              <a:spcBef>
                <a:spcPts val="0"/>
              </a:spcBef>
              <a:spcAft>
                <a:spcPts val="0"/>
              </a:spcAft>
              <a:buSzPts val="2300"/>
              <a:buNone/>
              <a:defRPr sz="3062"/>
            </a:lvl5pPr>
            <a:lvl6pPr lvl="5" algn="ctr">
              <a:spcBef>
                <a:spcPts val="0"/>
              </a:spcBef>
              <a:spcAft>
                <a:spcPts val="0"/>
              </a:spcAft>
              <a:buSzPts val="2300"/>
              <a:buNone/>
              <a:defRPr sz="3062"/>
            </a:lvl6pPr>
            <a:lvl7pPr lvl="6" algn="ctr">
              <a:spcBef>
                <a:spcPts val="0"/>
              </a:spcBef>
              <a:spcAft>
                <a:spcPts val="0"/>
              </a:spcAft>
              <a:buSzPts val="2300"/>
              <a:buNone/>
              <a:defRPr sz="3062"/>
            </a:lvl7pPr>
            <a:lvl8pPr lvl="7" algn="ctr">
              <a:spcBef>
                <a:spcPts val="0"/>
              </a:spcBef>
              <a:spcAft>
                <a:spcPts val="0"/>
              </a:spcAft>
              <a:buSzPts val="2300"/>
              <a:buNone/>
              <a:defRPr sz="3062"/>
            </a:lvl8pPr>
            <a:lvl9pPr lvl="8" algn="ctr">
              <a:spcBef>
                <a:spcPts val="0"/>
              </a:spcBef>
              <a:spcAft>
                <a:spcPts val="0"/>
              </a:spcAft>
              <a:buSzPts val="2300"/>
              <a:buNone/>
              <a:defRPr sz="3062"/>
            </a:lvl9pPr>
          </a:lstStyle>
          <a:p>
            <a:endParaRPr dirty="0"/>
          </a:p>
        </p:txBody>
      </p:sp>
      <p:sp>
        <p:nvSpPr>
          <p:cNvPr id="277" name="Google Shape;277;p27"/>
          <p:cNvSpPr txBox="1">
            <a:spLocks noGrp="1"/>
          </p:cNvSpPr>
          <p:nvPr>
            <p:ph type="body" idx="4"/>
          </p:nvPr>
        </p:nvSpPr>
        <p:spPr>
          <a:xfrm>
            <a:off x="6559296" y="4230624"/>
            <a:ext cx="1924000" cy="463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900"/>
              <a:buNone/>
              <a:defRPr sz="1464" b="0" i="0">
                <a:solidFill>
                  <a:schemeClr val="bg1"/>
                </a:solidFill>
                <a:latin typeface="Helvetica" pitchFamily="2" charset="0"/>
              </a:defRPr>
            </a:lvl1pPr>
            <a:lvl2pPr marL="1217295" lvl="1" indent="-380405">
              <a:spcBef>
                <a:spcPts val="0"/>
              </a:spcBef>
              <a:spcAft>
                <a:spcPts val="0"/>
              </a:spcAft>
              <a:buSzPts val="900"/>
              <a:buChar char="○"/>
              <a:defRPr sz="1198"/>
            </a:lvl2pPr>
            <a:lvl3pPr marL="1825943" lvl="2" indent="-380405">
              <a:spcBef>
                <a:spcPts val="0"/>
              </a:spcBef>
              <a:spcAft>
                <a:spcPts val="0"/>
              </a:spcAft>
              <a:buSzPts val="900"/>
              <a:buChar char="■"/>
              <a:defRPr sz="1198"/>
            </a:lvl3pPr>
            <a:lvl4pPr marL="2434590" lvl="3" indent="-380405">
              <a:spcBef>
                <a:spcPts val="0"/>
              </a:spcBef>
              <a:spcAft>
                <a:spcPts val="0"/>
              </a:spcAft>
              <a:buSzPts val="900"/>
              <a:buChar char="●"/>
              <a:defRPr sz="1198"/>
            </a:lvl4pPr>
            <a:lvl5pPr marL="3043238" lvl="4" indent="-380405">
              <a:spcBef>
                <a:spcPts val="0"/>
              </a:spcBef>
              <a:spcAft>
                <a:spcPts val="0"/>
              </a:spcAft>
              <a:buSzPts val="900"/>
              <a:buChar char="○"/>
              <a:defRPr sz="1198"/>
            </a:lvl5pPr>
            <a:lvl6pPr marL="3651885" lvl="5" indent="-380405">
              <a:spcBef>
                <a:spcPts val="0"/>
              </a:spcBef>
              <a:spcAft>
                <a:spcPts val="0"/>
              </a:spcAft>
              <a:buSzPts val="900"/>
              <a:buChar char="■"/>
              <a:defRPr sz="1198"/>
            </a:lvl6pPr>
            <a:lvl7pPr marL="4260533" lvl="6" indent="-380405">
              <a:spcBef>
                <a:spcPts val="0"/>
              </a:spcBef>
              <a:spcAft>
                <a:spcPts val="0"/>
              </a:spcAft>
              <a:buSzPts val="900"/>
              <a:buChar char="●"/>
              <a:defRPr sz="1198"/>
            </a:lvl7pPr>
            <a:lvl8pPr marL="4869180" lvl="7" indent="-380405">
              <a:spcBef>
                <a:spcPts val="0"/>
              </a:spcBef>
              <a:spcAft>
                <a:spcPts val="0"/>
              </a:spcAft>
              <a:buSzPts val="900"/>
              <a:buChar char="○"/>
              <a:defRPr sz="1198"/>
            </a:lvl8pPr>
            <a:lvl9pPr marL="5477828" lvl="8" indent="-380405">
              <a:spcBef>
                <a:spcPts val="0"/>
              </a:spcBef>
              <a:spcAft>
                <a:spcPts val="0"/>
              </a:spcAft>
              <a:buSzPts val="900"/>
              <a:buChar char="■"/>
              <a:defRPr sz="1198"/>
            </a:lvl9pPr>
          </a:lstStyle>
          <a:p>
            <a:endParaRPr dirty="0"/>
          </a:p>
        </p:txBody>
      </p:sp>
      <p:sp>
        <p:nvSpPr>
          <p:cNvPr id="278" name="Google Shape;278;p27"/>
          <p:cNvSpPr txBox="1">
            <a:spLocks noGrp="1"/>
          </p:cNvSpPr>
          <p:nvPr>
            <p:ph type="body" idx="5"/>
          </p:nvPr>
        </p:nvSpPr>
        <p:spPr>
          <a:xfrm>
            <a:off x="6559297" y="4767072"/>
            <a:ext cx="1731200" cy="9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76" name="Google Shape;276;p27"/>
          <p:cNvSpPr txBox="1">
            <a:spLocks noGrp="1"/>
          </p:cNvSpPr>
          <p:nvPr>
            <p:ph type="title" idx="3"/>
          </p:nvPr>
        </p:nvSpPr>
        <p:spPr>
          <a:xfrm>
            <a:off x="9131808" y="2828544"/>
            <a:ext cx="1402000" cy="536400"/>
          </a:xfrm>
          <a:prstGeom prst="rect">
            <a:avLst/>
          </a:prstGeom>
        </p:spPr>
        <p:txBody>
          <a:bodyPr spcFirstLastPara="1" wrap="square" lIns="45700" tIns="18275" rIns="45700" bIns="18275" anchor="t" anchorCtr="0">
            <a:noAutofit/>
          </a:bodyPr>
          <a:lstStyle>
            <a:lvl1pPr lvl="0" algn="ctr" rtl="0">
              <a:lnSpc>
                <a:spcPct val="100000"/>
              </a:lnSpc>
              <a:spcBef>
                <a:spcPts val="0"/>
              </a:spcBef>
              <a:spcAft>
                <a:spcPts val="0"/>
              </a:spcAft>
              <a:buSzPts val="2300"/>
              <a:buNone/>
              <a:defRPr sz="3062" b="1" i="0">
                <a:latin typeface="Helvetica" pitchFamily="2" charset="0"/>
              </a:defRPr>
            </a:lvl1pPr>
            <a:lvl2pPr lvl="1" algn="ctr" rtl="0">
              <a:spcBef>
                <a:spcPts val="0"/>
              </a:spcBef>
              <a:spcAft>
                <a:spcPts val="0"/>
              </a:spcAft>
              <a:buSzPts val="2300"/>
              <a:buNone/>
              <a:defRPr sz="3062"/>
            </a:lvl2pPr>
            <a:lvl3pPr lvl="2" algn="ctr" rtl="0">
              <a:spcBef>
                <a:spcPts val="0"/>
              </a:spcBef>
              <a:spcAft>
                <a:spcPts val="0"/>
              </a:spcAft>
              <a:buSzPts val="2300"/>
              <a:buNone/>
              <a:defRPr sz="3062"/>
            </a:lvl3pPr>
            <a:lvl4pPr lvl="3" algn="ctr" rtl="0">
              <a:spcBef>
                <a:spcPts val="0"/>
              </a:spcBef>
              <a:spcAft>
                <a:spcPts val="0"/>
              </a:spcAft>
              <a:buSzPts val="2300"/>
              <a:buNone/>
              <a:defRPr sz="3062"/>
            </a:lvl4pPr>
            <a:lvl5pPr lvl="4" algn="ctr" rtl="0">
              <a:spcBef>
                <a:spcPts val="0"/>
              </a:spcBef>
              <a:spcAft>
                <a:spcPts val="0"/>
              </a:spcAft>
              <a:buSzPts val="2300"/>
              <a:buNone/>
              <a:defRPr sz="3062"/>
            </a:lvl5pPr>
            <a:lvl6pPr lvl="5" algn="ctr" rtl="0">
              <a:spcBef>
                <a:spcPts val="0"/>
              </a:spcBef>
              <a:spcAft>
                <a:spcPts val="0"/>
              </a:spcAft>
              <a:buSzPts val="2300"/>
              <a:buNone/>
              <a:defRPr sz="3062"/>
            </a:lvl6pPr>
            <a:lvl7pPr lvl="6" algn="ctr" rtl="0">
              <a:spcBef>
                <a:spcPts val="0"/>
              </a:spcBef>
              <a:spcAft>
                <a:spcPts val="0"/>
              </a:spcAft>
              <a:buSzPts val="2300"/>
              <a:buNone/>
              <a:defRPr sz="3062"/>
            </a:lvl7pPr>
            <a:lvl8pPr lvl="7" algn="ctr" rtl="0">
              <a:spcBef>
                <a:spcPts val="0"/>
              </a:spcBef>
              <a:spcAft>
                <a:spcPts val="0"/>
              </a:spcAft>
              <a:buSzPts val="2300"/>
              <a:buNone/>
              <a:defRPr sz="3062"/>
            </a:lvl8pPr>
            <a:lvl9pPr lvl="8" algn="ctr" rtl="0">
              <a:spcBef>
                <a:spcPts val="0"/>
              </a:spcBef>
              <a:spcAft>
                <a:spcPts val="0"/>
              </a:spcAft>
              <a:buSzPts val="2300"/>
              <a:buNone/>
              <a:defRPr sz="3062"/>
            </a:lvl9pPr>
          </a:lstStyle>
          <a:p>
            <a:endParaRPr dirty="0"/>
          </a:p>
        </p:txBody>
      </p:sp>
      <p:sp>
        <p:nvSpPr>
          <p:cNvPr id="279" name="Google Shape;279;p27"/>
          <p:cNvSpPr txBox="1">
            <a:spLocks noGrp="1"/>
          </p:cNvSpPr>
          <p:nvPr>
            <p:ph type="body" idx="6"/>
          </p:nvPr>
        </p:nvSpPr>
        <p:spPr>
          <a:xfrm>
            <a:off x="8924544" y="4230624"/>
            <a:ext cx="1924000" cy="463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900"/>
              <a:buNone/>
              <a:defRPr sz="1464" b="0" i="0">
                <a:solidFill>
                  <a:schemeClr val="bg1"/>
                </a:solidFill>
                <a:latin typeface="Helvetica" pitchFamily="2" charset="0"/>
              </a:defRPr>
            </a:lvl1pPr>
            <a:lvl2pPr marL="1217295" lvl="1" indent="-380405" rtl="0">
              <a:spcBef>
                <a:spcPts val="0"/>
              </a:spcBef>
              <a:spcAft>
                <a:spcPts val="0"/>
              </a:spcAft>
              <a:buSzPts val="900"/>
              <a:buChar char="○"/>
              <a:defRPr sz="1198"/>
            </a:lvl2pPr>
            <a:lvl3pPr marL="1825943" lvl="2" indent="-380405" rtl="0">
              <a:spcBef>
                <a:spcPts val="0"/>
              </a:spcBef>
              <a:spcAft>
                <a:spcPts val="0"/>
              </a:spcAft>
              <a:buSzPts val="900"/>
              <a:buChar char="■"/>
              <a:defRPr sz="1198"/>
            </a:lvl3pPr>
            <a:lvl4pPr marL="2434590" lvl="3" indent="-380405" rtl="0">
              <a:spcBef>
                <a:spcPts val="0"/>
              </a:spcBef>
              <a:spcAft>
                <a:spcPts val="0"/>
              </a:spcAft>
              <a:buSzPts val="900"/>
              <a:buChar char="●"/>
              <a:defRPr sz="1198"/>
            </a:lvl4pPr>
            <a:lvl5pPr marL="3043238" lvl="4" indent="-380405" rtl="0">
              <a:spcBef>
                <a:spcPts val="0"/>
              </a:spcBef>
              <a:spcAft>
                <a:spcPts val="0"/>
              </a:spcAft>
              <a:buSzPts val="900"/>
              <a:buChar char="○"/>
              <a:defRPr sz="1198"/>
            </a:lvl5pPr>
            <a:lvl6pPr marL="3651885" lvl="5" indent="-380405" rtl="0">
              <a:spcBef>
                <a:spcPts val="0"/>
              </a:spcBef>
              <a:spcAft>
                <a:spcPts val="0"/>
              </a:spcAft>
              <a:buSzPts val="900"/>
              <a:buChar char="■"/>
              <a:defRPr sz="1198"/>
            </a:lvl6pPr>
            <a:lvl7pPr marL="4260533" lvl="6" indent="-380405" rtl="0">
              <a:spcBef>
                <a:spcPts val="0"/>
              </a:spcBef>
              <a:spcAft>
                <a:spcPts val="0"/>
              </a:spcAft>
              <a:buSzPts val="900"/>
              <a:buChar char="●"/>
              <a:defRPr sz="1198"/>
            </a:lvl7pPr>
            <a:lvl8pPr marL="4869180" lvl="7" indent="-380405" rtl="0">
              <a:spcBef>
                <a:spcPts val="0"/>
              </a:spcBef>
              <a:spcAft>
                <a:spcPts val="0"/>
              </a:spcAft>
              <a:buSzPts val="900"/>
              <a:buChar char="○"/>
              <a:defRPr sz="1198"/>
            </a:lvl8pPr>
            <a:lvl9pPr marL="5477828" lvl="8" indent="-380405" rtl="0">
              <a:spcBef>
                <a:spcPts val="0"/>
              </a:spcBef>
              <a:spcAft>
                <a:spcPts val="0"/>
              </a:spcAft>
              <a:buSzPts val="900"/>
              <a:buChar char="■"/>
              <a:defRPr sz="1198"/>
            </a:lvl9pPr>
          </a:lstStyle>
          <a:p>
            <a:endParaRPr dirty="0"/>
          </a:p>
        </p:txBody>
      </p:sp>
      <p:sp>
        <p:nvSpPr>
          <p:cNvPr id="280" name="Google Shape;280;p27"/>
          <p:cNvSpPr txBox="1">
            <a:spLocks noGrp="1"/>
          </p:cNvSpPr>
          <p:nvPr>
            <p:ph type="body" idx="7"/>
          </p:nvPr>
        </p:nvSpPr>
        <p:spPr>
          <a:xfrm>
            <a:off x="8924544" y="4767072"/>
            <a:ext cx="1731200" cy="9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268" name="Google Shape;268;p27"/>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C9C49052-67C9-6166-E3DB-2999C7C114E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414526680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matchingName="Quote" preserve="1">
  <p:cSld name="Quote">
    <p:spTree>
      <p:nvGrpSpPr>
        <p:cNvPr id="1" name="Shape 281"/>
        <p:cNvGrpSpPr/>
        <p:nvPr/>
      </p:nvGrpSpPr>
      <p:grpSpPr>
        <a:xfrm>
          <a:off x="0" y="0"/>
          <a:ext cx="0" cy="0"/>
          <a:chOff x="0" y="0"/>
          <a:chExt cx="0" cy="0"/>
        </a:xfrm>
      </p:grpSpPr>
      <p:grpSp>
        <p:nvGrpSpPr>
          <p:cNvPr id="4" name="Group 3">
            <a:extLst>
              <a:ext uri="{FF2B5EF4-FFF2-40B4-BE49-F238E27FC236}">
                <a16:creationId xmlns:a16="http://schemas.microsoft.com/office/drawing/2014/main" id="{16929EEF-EB45-38DD-B459-54368DB9CE16}"/>
              </a:ext>
              <a:ext uri="{C183D7F6-B498-43B3-948B-1728B52AA6E4}">
                <adec:decorative xmlns:adec="http://schemas.microsoft.com/office/drawing/2017/decorative" val="1"/>
              </a:ext>
            </a:extLst>
          </p:cNvPr>
          <p:cNvGrpSpPr/>
          <p:nvPr userDrawn="1"/>
        </p:nvGrpSpPr>
        <p:grpSpPr>
          <a:xfrm>
            <a:off x="0" y="1"/>
            <a:ext cx="16373204" cy="6858001"/>
            <a:chOff x="0" y="0"/>
            <a:chExt cx="12279903" cy="5143501"/>
          </a:xfrm>
        </p:grpSpPr>
        <p:grpSp>
          <p:nvGrpSpPr>
            <p:cNvPr id="2" name="Group 1">
              <a:extLst>
                <a:ext uri="{FF2B5EF4-FFF2-40B4-BE49-F238E27FC236}">
                  <a16:creationId xmlns:a16="http://schemas.microsoft.com/office/drawing/2014/main" id="{E5BD7957-EE50-F7E1-5EC4-A00B8C29F742}"/>
                </a:ext>
                <a:ext uri="{C183D7F6-B498-43B3-948B-1728B52AA6E4}">
                  <adec:decorative xmlns:adec="http://schemas.microsoft.com/office/drawing/2017/decorative" val="1"/>
                </a:ext>
              </a:extLst>
            </p:cNvPr>
            <p:cNvGrpSpPr/>
            <p:nvPr userDrawn="1"/>
          </p:nvGrpSpPr>
          <p:grpSpPr>
            <a:xfrm>
              <a:off x="0" y="0"/>
              <a:ext cx="12279903" cy="5143501"/>
              <a:chOff x="0" y="0"/>
              <a:chExt cx="12279903" cy="5143501"/>
            </a:xfrm>
          </p:grpSpPr>
          <p:cxnSp>
            <p:nvCxnSpPr>
              <p:cNvPr id="282" name="Google Shape;282;p28">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85" name="Google Shape;285;p28">
                <a:extLst>
                  <a:ext uri="{C183D7F6-B498-43B3-948B-1728B52AA6E4}">
                    <adec:decorative xmlns:adec="http://schemas.microsoft.com/office/drawing/2017/decorative" val="1"/>
                  </a:ext>
                </a:extLst>
              </p:cNvPr>
              <p:cNvPicPr preferRelativeResize="0"/>
              <p:nvPr/>
            </p:nvPicPr>
            <p:blipFill rotWithShape="1">
              <a:blip r:embed="rId2">
                <a:alphaModFix amt="50000"/>
              </a:blip>
              <a:srcRect/>
              <a:stretch/>
            </p:blipFill>
            <p:spPr>
              <a:xfrm>
                <a:off x="0" y="0"/>
                <a:ext cx="5885013" cy="5143501"/>
              </a:xfrm>
              <a:prstGeom prst="rect">
                <a:avLst/>
              </a:prstGeom>
              <a:noFill/>
              <a:ln>
                <a:noFill/>
              </a:ln>
            </p:spPr>
          </p:pic>
          <p:grpSp>
            <p:nvGrpSpPr>
              <p:cNvPr id="3" name="Group 2">
                <a:extLst>
                  <a:ext uri="{FF2B5EF4-FFF2-40B4-BE49-F238E27FC236}">
                    <a16:creationId xmlns:a16="http://schemas.microsoft.com/office/drawing/2014/main" id="{6E286D62-03BB-174A-B73A-AEAD28239285}"/>
                  </a:ext>
                  <a:ext uri="{C183D7F6-B498-43B3-948B-1728B52AA6E4}">
                    <adec:decorative xmlns:adec="http://schemas.microsoft.com/office/drawing/2017/decorative" val="1"/>
                  </a:ext>
                </a:extLst>
              </p:cNvPr>
              <p:cNvGrpSpPr/>
              <p:nvPr userDrawn="1"/>
            </p:nvGrpSpPr>
            <p:grpSpPr>
              <a:xfrm>
                <a:off x="1250641" y="647264"/>
                <a:ext cx="3350876" cy="3896544"/>
                <a:chOff x="1250641" y="647264"/>
                <a:chExt cx="3350876" cy="3896544"/>
              </a:xfrm>
              <a:gradFill>
                <a:gsLst>
                  <a:gs pos="0">
                    <a:srgbClr val="1F9CF0"/>
                  </a:gs>
                  <a:gs pos="100000">
                    <a:srgbClr val="9477E2"/>
                  </a:gs>
                </a:gsLst>
                <a:lin ang="2700006" scaled="0"/>
              </a:gradFill>
            </p:grpSpPr>
            <p:sp>
              <p:nvSpPr>
                <p:cNvPr id="287" name="Google Shape;287;p28"/>
                <p:cNvSpPr/>
                <p:nvPr/>
              </p:nvSpPr>
              <p:spPr>
                <a:xfrm>
                  <a:off x="1250641" y="1140105"/>
                  <a:ext cx="3350876" cy="2910862"/>
                </a:xfrm>
                <a:prstGeom prst="roundRect">
                  <a:avLst>
                    <a:gd name="adj" fmla="val 0"/>
                  </a:avLst>
                </a:pr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88" name="Google Shape;288;p28"/>
                <p:cNvSpPr/>
                <p:nvPr/>
              </p:nvSpPr>
              <p:spPr>
                <a:xfrm rot="10800000" flipH="1">
                  <a:off x="1250641" y="647264"/>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89" name="Google Shape;289;p28"/>
                <p:cNvSpPr/>
                <p:nvPr/>
              </p:nvSpPr>
              <p:spPr>
                <a:xfrm>
                  <a:off x="3611024" y="4050967"/>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2796" kern="0" spc="0" normalizeH="0" baseline="0">
                    <a:ln>
                      <a:noFill/>
                    </a:ln>
                    <a:solidFill>
                      <a:srgbClr val="FFFFFF"/>
                    </a:solidFill>
                    <a:effectLst/>
                    <a:uLnTx/>
                    <a:uFillTx/>
                    <a:latin typeface="Helvetica" pitchFamily="2" charset="0"/>
                    <a:ea typeface="Calibri"/>
                    <a:cs typeface="Calibri"/>
                    <a:sym typeface="Calibri"/>
                  </a:endParaRPr>
                </a:p>
              </p:txBody>
            </p:sp>
          </p:grpSp>
          <p:pic>
            <p:nvPicPr>
              <p:cNvPr id="292" name="Google Shape;292;p28">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517534" y="714379"/>
                <a:ext cx="3762369" cy="3762369"/>
              </a:xfrm>
              <a:prstGeom prst="rect">
                <a:avLst/>
              </a:prstGeom>
              <a:noFill/>
              <a:ln>
                <a:noFill/>
              </a:ln>
            </p:spPr>
          </p:pic>
        </p:grpSp>
        <p:cxnSp>
          <p:nvCxnSpPr>
            <p:cNvPr id="291" name="Google Shape;291;p28">
              <a:extLst>
                <a:ext uri="{C183D7F6-B498-43B3-948B-1728B52AA6E4}">
                  <adec:decorative xmlns:adec="http://schemas.microsoft.com/office/drawing/2017/decorative" val="1"/>
                </a:ext>
              </a:extLst>
            </p:cNvPr>
            <p:cNvCxnSpPr/>
            <p:nvPr/>
          </p:nvCxnSpPr>
          <p:spPr>
            <a:xfrm>
              <a:off x="5283356" y="1079083"/>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296" name="Google Shape;296;p28"/>
          <p:cNvSpPr txBox="1">
            <a:spLocks noGrp="1"/>
          </p:cNvSpPr>
          <p:nvPr>
            <p:ph type="title"/>
          </p:nvPr>
        </p:nvSpPr>
        <p:spPr>
          <a:xfrm>
            <a:off x="6998208" y="1828800"/>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90" name="Google Shape;290;p28">
            <a:extLst>
              <a:ext uri="{C183D7F6-B498-43B3-948B-1728B52AA6E4}">
                <adec:decorative xmlns:adec="http://schemas.microsoft.com/office/drawing/2017/decorative" val="1"/>
              </a:ext>
            </a:extLst>
          </p:cNvPr>
          <p:cNvSpPr/>
          <p:nvPr/>
        </p:nvSpPr>
        <p:spPr>
          <a:xfrm>
            <a:off x="2087125" y="1125200"/>
            <a:ext cx="405180" cy="265266"/>
          </a:xfrm>
          <a:custGeom>
            <a:avLst/>
            <a:gdLst/>
            <a:ahLst/>
            <a:cxnLst/>
            <a:rect l="l" t="t" r="r" b="b"/>
            <a:pathLst>
              <a:path w="173154" h="113523" extrusionOk="0">
                <a:moveTo>
                  <a:pt x="124690" y="0"/>
                </a:moveTo>
                <a:lnTo>
                  <a:pt x="173154" y="0"/>
                </a:lnTo>
                <a:lnTo>
                  <a:pt x="148922" y="113523"/>
                </a:lnTo>
                <a:lnTo>
                  <a:pt x="85314" y="113523"/>
                </a:lnTo>
                <a:close/>
                <a:moveTo>
                  <a:pt x="39376" y="0"/>
                </a:moveTo>
                <a:lnTo>
                  <a:pt x="87839" y="0"/>
                </a:lnTo>
                <a:lnTo>
                  <a:pt x="63607" y="113523"/>
                </a:lnTo>
                <a:lnTo>
                  <a:pt x="0" y="113523"/>
                </a:lnTo>
                <a:close/>
              </a:path>
            </a:pathLst>
          </a:custGeom>
          <a:solidFill>
            <a:schemeClr val="lt1"/>
          </a:solidFill>
          <a:ln>
            <a:noFill/>
          </a:ln>
        </p:spPr>
        <p:txBody>
          <a:bodyPr spcFirstLastPara="1" wrap="square" lIns="57111" tIns="28556" rIns="57111" bIns="28556"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93" name="Google Shape;293;p28"/>
          <p:cNvSpPr txBox="1">
            <a:spLocks noGrp="1"/>
          </p:cNvSpPr>
          <p:nvPr>
            <p:ph type="body" idx="1"/>
          </p:nvPr>
        </p:nvSpPr>
        <p:spPr>
          <a:xfrm>
            <a:off x="2036064" y="2243328"/>
            <a:ext cx="3718400" cy="17068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1100"/>
              <a:buNone/>
              <a:defRPr sz="1464" b="0" i="0">
                <a:latin typeface="Helvetica" pitchFamily="2" charset="0"/>
              </a:defRPr>
            </a:lvl1pPr>
            <a:lvl2pPr marL="1217295" lvl="1" indent="-397312" algn="ctr">
              <a:spcBef>
                <a:spcPts val="0"/>
              </a:spcBef>
              <a:spcAft>
                <a:spcPts val="0"/>
              </a:spcAft>
              <a:buSzPts val="1100"/>
              <a:buChar char="○"/>
              <a:defRPr sz="1464" i="1"/>
            </a:lvl2pPr>
            <a:lvl3pPr marL="1825943" lvl="2" indent="-397312" algn="ctr">
              <a:spcBef>
                <a:spcPts val="0"/>
              </a:spcBef>
              <a:spcAft>
                <a:spcPts val="0"/>
              </a:spcAft>
              <a:buSzPts val="1100"/>
              <a:buChar char="■"/>
              <a:defRPr sz="1464" i="1"/>
            </a:lvl3pPr>
            <a:lvl4pPr marL="2434590" lvl="3" indent="-397312" algn="ctr">
              <a:spcBef>
                <a:spcPts val="0"/>
              </a:spcBef>
              <a:spcAft>
                <a:spcPts val="0"/>
              </a:spcAft>
              <a:buSzPts val="1100"/>
              <a:buChar char="●"/>
              <a:defRPr sz="1464" i="1"/>
            </a:lvl4pPr>
            <a:lvl5pPr marL="3043238" lvl="4" indent="-397312" algn="ctr">
              <a:spcBef>
                <a:spcPts val="0"/>
              </a:spcBef>
              <a:spcAft>
                <a:spcPts val="0"/>
              </a:spcAft>
              <a:buSzPts val="1100"/>
              <a:buChar char="○"/>
              <a:defRPr sz="1464" i="1"/>
            </a:lvl5pPr>
            <a:lvl6pPr marL="3651885" lvl="5" indent="-397312" algn="ctr">
              <a:spcBef>
                <a:spcPts val="0"/>
              </a:spcBef>
              <a:spcAft>
                <a:spcPts val="0"/>
              </a:spcAft>
              <a:buSzPts val="1100"/>
              <a:buChar char="■"/>
              <a:defRPr sz="1464" i="1"/>
            </a:lvl6pPr>
            <a:lvl7pPr marL="4260533" lvl="6" indent="-397312" algn="ctr">
              <a:spcBef>
                <a:spcPts val="0"/>
              </a:spcBef>
              <a:spcAft>
                <a:spcPts val="0"/>
              </a:spcAft>
              <a:buSzPts val="1100"/>
              <a:buChar char="●"/>
              <a:defRPr sz="1464" i="1"/>
            </a:lvl7pPr>
            <a:lvl8pPr marL="4869180" lvl="7" indent="-397312" algn="ctr">
              <a:spcBef>
                <a:spcPts val="0"/>
              </a:spcBef>
              <a:spcAft>
                <a:spcPts val="0"/>
              </a:spcAft>
              <a:buSzPts val="1100"/>
              <a:buChar char="○"/>
              <a:defRPr sz="1464" i="1"/>
            </a:lvl8pPr>
            <a:lvl9pPr marL="5477828" lvl="8" indent="-397312" algn="ctr">
              <a:spcBef>
                <a:spcPts val="0"/>
              </a:spcBef>
              <a:spcAft>
                <a:spcPts val="0"/>
              </a:spcAft>
              <a:buSzPts val="1100"/>
              <a:buChar char="■"/>
              <a:defRPr sz="1464" i="1"/>
            </a:lvl9pPr>
          </a:lstStyle>
          <a:p>
            <a:endParaRPr dirty="0"/>
          </a:p>
        </p:txBody>
      </p:sp>
      <p:sp>
        <p:nvSpPr>
          <p:cNvPr id="294" name="Google Shape;294;p28"/>
          <p:cNvSpPr txBox="1">
            <a:spLocks noGrp="1"/>
          </p:cNvSpPr>
          <p:nvPr>
            <p:ph type="body" idx="2"/>
          </p:nvPr>
        </p:nvSpPr>
        <p:spPr>
          <a:xfrm>
            <a:off x="2535936" y="4255008"/>
            <a:ext cx="2760400" cy="8940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500"/>
              <a:buNone/>
              <a:defRPr sz="1997" b="0" i="0">
                <a:latin typeface="Helvetica" pitchFamily="2" charset="0"/>
              </a:defRPr>
            </a:lvl1pPr>
            <a:lvl2pPr marL="1217295" lvl="1" indent="-397312" algn="ctr">
              <a:lnSpc>
                <a:spcPct val="100000"/>
              </a:lnSpc>
              <a:spcBef>
                <a:spcPts val="0"/>
              </a:spcBef>
              <a:spcAft>
                <a:spcPts val="0"/>
              </a:spcAft>
              <a:buSzPts val="1100"/>
              <a:buChar char="○"/>
              <a:defRPr sz="1464" i="1"/>
            </a:lvl2pPr>
            <a:lvl3pPr marL="1825943" lvl="2" indent="-397312" algn="ctr">
              <a:lnSpc>
                <a:spcPct val="100000"/>
              </a:lnSpc>
              <a:spcBef>
                <a:spcPts val="0"/>
              </a:spcBef>
              <a:spcAft>
                <a:spcPts val="0"/>
              </a:spcAft>
              <a:buSzPts val="1100"/>
              <a:buChar char="■"/>
              <a:defRPr sz="1464" i="1"/>
            </a:lvl3pPr>
            <a:lvl4pPr marL="2434590" lvl="3" indent="-388858" algn="ctr">
              <a:lnSpc>
                <a:spcPct val="100000"/>
              </a:lnSpc>
              <a:spcBef>
                <a:spcPts val="0"/>
              </a:spcBef>
              <a:spcAft>
                <a:spcPts val="0"/>
              </a:spcAft>
              <a:buSzPts val="1000"/>
              <a:buChar char="●"/>
              <a:defRPr/>
            </a:lvl4pPr>
            <a:lvl5pPr marL="3043238" lvl="4" indent="-388858" algn="ctr">
              <a:lnSpc>
                <a:spcPct val="100000"/>
              </a:lnSpc>
              <a:spcBef>
                <a:spcPts val="0"/>
              </a:spcBef>
              <a:spcAft>
                <a:spcPts val="0"/>
              </a:spcAft>
              <a:buSzPts val="1000"/>
              <a:buChar char="○"/>
              <a:defRPr/>
            </a:lvl5pPr>
            <a:lvl6pPr marL="3651885" lvl="5" indent="-388858" algn="ctr">
              <a:lnSpc>
                <a:spcPct val="100000"/>
              </a:lnSpc>
              <a:spcBef>
                <a:spcPts val="0"/>
              </a:spcBef>
              <a:spcAft>
                <a:spcPts val="0"/>
              </a:spcAft>
              <a:buSzPts val="1000"/>
              <a:buChar char="■"/>
              <a:defRPr/>
            </a:lvl6pPr>
            <a:lvl7pPr marL="4260533" lvl="6" indent="-388858" algn="ctr">
              <a:lnSpc>
                <a:spcPct val="100000"/>
              </a:lnSpc>
              <a:spcBef>
                <a:spcPts val="0"/>
              </a:spcBef>
              <a:spcAft>
                <a:spcPts val="0"/>
              </a:spcAft>
              <a:buSzPts val="1000"/>
              <a:buChar char="●"/>
              <a:defRPr/>
            </a:lvl7pPr>
            <a:lvl8pPr marL="4869180" lvl="7" indent="-388858" algn="ctr">
              <a:lnSpc>
                <a:spcPct val="100000"/>
              </a:lnSpc>
              <a:spcBef>
                <a:spcPts val="0"/>
              </a:spcBef>
              <a:spcAft>
                <a:spcPts val="0"/>
              </a:spcAft>
              <a:buSzPts val="1000"/>
              <a:buChar char="○"/>
              <a:defRPr/>
            </a:lvl8pPr>
            <a:lvl9pPr marL="5477828" lvl="8" indent="-388858" algn="ctr">
              <a:lnSpc>
                <a:spcPct val="100000"/>
              </a:lnSpc>
              <a:spcBef>
                <a:spcPts val="0"/>
              </a:spcBef>
              <a:spcAft>
                <a:spcPts val="0"/>
              </a:spcAft>
              <a:buSzPts val="1000"/>
              <a:buChar char="■"/>
              <a:defRPr/>
            </a:lvl9pPr>
          </a:lstStyle>
          <a:p>
            <a:endParaRPr dirty="0"/>
          </a:p>
        </p:txBody>
      </p:sp>
      <p:sp>
        <p:nvSpPr>
          <p:cNvPr id="298" name="Google Shape;298;p28"/>
          <p:cNvSpPr>
            <a:spLocks noGrp="1"/>
          </p:cNvSpPr>
          <p:nvPr>
            <p:ph type="pic" idx="5"/>
          </p:nvPr>
        </p:nvSpPr>
        <p:spPr>
          <a:xfrm>
            <a:off x="4959866" y="4852852"/>
            <a:ext cx="1036400" cy="1036400"/>
          </a:xfrm>
          <a:prstGeom prst="ellipse">
            <a:avLst/>
          </a:prstGeom>
          <a:noFill/>
          <a:ln>
            <a:noFill/>
          </a:ln>
        </p:spPr>
        <p:txBody>
          <a:bodyPr anchor="ctr"/>
          <a:lstStyle>
            <a:lvl1pPr marL="0" indent="0" algn="ctr">
              <a:buNone/>
              <a:defRPr sz="1065" b="0" i="0">
                <a:latin typeface="Helvetica" pitchFamily="2" charset="0"/>
              </a:defRPr>
            </a:lvl1pPr>
          </a:lstStyle>
          <a:p>
            <a:endParaRPr lang="en-US" dirty="0"/>
          </a:p>
        </p:txBody>
      </p:sp>
      <p:sp>
        <p:nvSpPr>
          <p:cNvPr id="295" name="Google Shape;295;p28"/>
          <p:cNvSpPr txBox="1">
            <a:spLocks noGrp="1"/>
          </p:cNvSpPr>
          <p:nvPr>
            <p:ph type="subTitle" idx="3"/>
          </p:nvPr>
        </p:nvSpPr>
        <p:spPr>
          <a:xfrm>
            <a:off x="6998208" y="1182624"/>
            <a:ext cx="4035600" cy="233564"/>
          </a:xfrm>
          <a:prstGeom prst="rect">
            <a:avLst/>
          </a:prstGeom>
        </p:spPr>
        <p:txBody>
          <a:bodyPr spcFirstLastPara="1" wrap="square" lIns="45700" tIns="18275" rIns="45700" bIns="18275" anchor="t" anchorCtr="0">
            <a:sp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297" name="Google Shape;297;p28"/>
          <p:cNvSpPr txBox="1">
            <a:spLocks noGrp="1"/>
          </p:cNvSpPr>
          <p:nvPr>
            <p:ph type="body" idx="4"/>
          </p:nvPr>
        </p:nvSpPr>
        <p:spPr>
          <a:xfrm>
            <a:off x="6998208" y="3413760"/>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84" name="Google Shape;284;p28"/>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8" name="Google Shape;56;p14">
            <a:extLst>
              <a:ext uri="{FF2B5EF4-FFF2-40B4-BE49-F238E27FC236}">
                <a16:creationId xmlns:a16="http://schemas.microsoft.com/office/drawing/2014/main" id="{E4F8E568-C533-52CC-CC72-510F4CD005A2}"/>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249476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Trio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3B6BA2CD-7209-D2F7-020F-04D77E22A4BD}"/>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7" name="Text Placeholder 4">
            <a:extLst>
              <a:ext uri="{FF2B5EF4-FFF2-40B4-BE49-F238E27FC236}">
                <a16:creationId xmlns:a16="http://schemas.microsoft.com/office/drawing/2014/main" id="{E61F9E55-7626-7C64-5F31-BFA1F41275A7}"/>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6219392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matchingName="Three Blocks" preserve="1">
  <p:cSld name="Three Blocks">
    <p:spTree>
      <p:nvGrpSpPr>
        <p:cNvPr id="1" name="Shape 299"/>
        <p:cNvGrpSpPr/>
        <p:nvPr/>
      </p:nvGrpSpPr>
      <p:grpSpPr>
        <a:xfrm>
          <a:off x="0" y="0"/>
          <a:ext cx="0" cy="0"/>
          <a:chOff x="0" y="0"/>
          <a:chExt cx="0" cy="0"/>
        </a:xfrm>
      </p:grpSpPr>
      <p:grpSp>
        <p:nvGrpSpPr>
          <p:cNvPr id="2" name="Group 1">
            <a:extLst>
              <a:ext uri="{FF2B5EF4-FFF2-40B4-BE49-F238E27FC236}">
                <a16:creationId xmlns:a16="http://schemas.microsoft.com/office/drawing/2014/main" id="{BE437089-810F-7F01-BE5D-CA2E0D7567FE}"/>
              </a:ext>
              <a:ext uri="{C183D7F6-B498-43B3-948B-1728B52AA6E4}">
                <adec:decorative xmlns:adec="http://schemas.microsoft.com/office/drawing/2017/decorative" val="1"/>
              </a:ext>
            </a:extLst>
          </p:cNvPr>
          <p:cNvGrpSpPr/>
          <p:nvPr userDrawn="1"/>
        </p:nvGrpSpPr>
        <p:grpSpPr>
          <a:xfrm>
            <a:off x="-4456557" y="400"/>
            <a:ext cx="20940072" cy="8214819"/>
            <a:chOff x="-3342418" y="300"/>
            <a:chExt cx="15705054" cy="6161114"/>
          </a:xfrm>
        </p:grpSpPr>
        <p:cxnSp>
          <p:nvCxnSpPr>
            <p:cNvPr id="300" name="Google Shape;300;p29">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03" name="Google Shape;303;p29">
              <a:extLst>
                <a:ext uri="{C183D7F6-B498-43B3-948B-1728B52AA6E4}">
                  <adec:decorative xmlns:adec="http://schemas.microsoft.com/office/drawing/2017/decorative" val="1"/>
                </a:ext>
              </a:extLst>
            </p:cNvPr>
            <p:cNvSpPr/>
            <p:nvPr/>
          </p:nvSpPr>
          <p:spPr>
            <a:xfrm>
              <a:off x="836471" y="3334572"/>
              <a:ext cx="2177400" cy="1071502"/>
            </a:xfrm>
            <a:prstGeom prst="rect">
              <a:avLst/>
            </a:prstGeom>
            <a:gradFill>
              <a:gsLst>
                <a:gs pos="0">
                  <a:srgbClr val="1F9CF0"/>
                </a:gs>
                <a:gs pos="200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04" name="Google Shape;304;p29">
              <a:extLst>
                <a:ext uri="{C183D7F6-B498-43B3-948B-1728B52AA6E4}">
                  <adec:decorative xmlns:adec="http://schemas.microsoft.com/office/drawing/2017/decorative" val="1"/>
                </a:ext>
              </a:extLst>
            </p:cNvPr>
            <p:cNvSpPr/>
            <p:nvPr/>
          </p:nvSpPr>
          <p:spPr>
            <a:xfrm>
              <a:off x="3424403" y="3332929"/>
              <a:ext cx="2177400" cy="1071502"/>
            </a:xfrm>
            <a:prstGeom prst="rect">
              <a:avLst/>
            </a:prstGeom>
            <a:gradFill>
              <a:gsLst>
                <a:gs pos="0">
                  <a:srgbClr val="D59DFF"/>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05" name="Google Shape;305;p29">
              <a:extLst>
                <a:ext uri="{C183D7F6-B498-43B3-948B-1728B52AA6E4}">
                  <adec:decorative xmlns:adec="http://schemas.microsoft.com/office/drawing/2017/decorative" val="1"/>
                </a:ext>
              </a:extLst>
            </p:cNvPr>
            <p:cNvSpPr/>
            <p:nvPr/>
          </p:nvSpPr>
          <p:spPr>
            <a:xfrm>
              <a:off x="6012335" y="3332929"/>
              <a:ext cx="2177400" cy="1071502"/>
            </a:xfrm>
            <a:prstGeom prst="rect">
              <a:avLst/>
            </a:prstGeom>
            <a:gradFill>
              <a:gsLst>
                <a:gs pos="0">
                  <a:srgbClr val="9477E2"/>
                </a:gs>
                <a:gs pos="2000">
                  <a:srgbClr val="9477E2"/>
                </a:gs>
                <a:gs pos="100000">
                  <a:srgbClr val="8661C5">
                    <a:alpha val="0"/>
                  </a:srgbClr>
                </a:gs>
              </a:gsLst>
              <a:lin ang="2700006"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306" name="Google Shape;306;p29">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307" name="Google Shape;307;p29">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600267" y="500036"/>
              <a:ext cx="3762369" cy="3762369"/>
            </a:xfrm>
            <a:prstGeom prst="rect">
              <a:avLst/>
            </a:prstGeom>
            <a:noFill/>
            <a:ln>
              <a:noFill/>
            </a:ln>
          </p:spPr>
        </p:pic>
        <p:pic>
          <p:nvPicPr>
            <p:cNvPr id="308" name="Google Shape;308;p29">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342418" y="2399045"/>
              <a:ext cx="3762369" cy="3762369"/>
            </a:xfrm>
            <a:prstGeom prst="rect">
              <a:avLst/>
            </a:prstGeom>
            <a:noFill/>
            <a:ln>
              <a:noFill/>
            </a:ln>
          </p:spPr>
        </p:pic>
        <p:sp>
          <p:nvSpPr>
            <p:cNvPr id="309" name="Google Shape;309;p29">
              <a:extLst>
                <a:ext uri="{C183D7F6-B498-43B3-948B-1728B52AA6E4}">
                  <adec:decorative xmlns:adec="http://schemas.microsoft.com/office/drawing/2017/decorative" val="1"/>
                </a:ext>
              </a:extLst>
            </p:cNvPr>
            <p:cNvSpPr/>
            <p:nvPr/>
          </p:nvSpPr>
          <p:spPr>
            <a:xfrm rot="10800000">
              <a:off x="407925" y="300"/>
              <a:ext cx="73200" cy="16896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311" name="Google Shape;311;p29"/>
          <p:cNvSpPr txBox="1">
            <a:spLocks noGrp="1"/>
          </p:cNvSpPr>
          <p:nvPr>
            <p:ph type="title"/>
          </p:nvPr>
        </p:nvSpPr>
        <p:spPr>
          <a:xfrm>
            <a:off x="1072896" y="1377696"/>
            <a:ext cx="3889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700"/>
              <a:buNone/>
              <a:defRPr sz="2263"/>
            </a:lvl2pPr>
            <a:lvl3pPr lvl="2" rtl="0">
              <a:spcBef>
                <a:spcPts val="0"/>
              </a:spcBef>
              <a:spcAft>
                <a:spcPts val="0"/>
              </a:spcAft>
              <a:buSzPts val="1700"/>
              <a:buNone/>
              <a:defRPr sz="2263"/>
            </a:lvl3pPr>
            <a:lvl4pPr lvl="3" rtl="0">
              <a:spcBef>
                <a:spcPts val="0"/>
              </a:spcBef>
              <a:spcAft>
                <a:spcPts val="0"/>
              </a:spcAft>
              <a:buSzPts val="1700"/>
              <a:buNone/>
              <a:defRPr sz="2263"/>
            </a:lvl4pPr>
            <a:lvl5pPr lvl="4" rtl="0">
              <a:spcBef>
                <a:spcPts val="0"/>
              </a:spcBef>
              <a:spcAft>
                <a:spcPts val="0"/>
              </a:spcAft>
              <a:buSzPts val="1700"/>
              <a:buNone/>
              <a:defRPr sz="2263"/>
            </a:lvl5pPr>
            <a:lvl6pPr lvl="5" rtl="0">
              <a:spcBef>
                <a:spcPts val="0"/>
              </a:spcBef>
              <a:spcAft>
                <a:spcPts val="0"/>
              </a:spcAft>
              <a:buSzPts val="1700"/>
              <a:buNone/>
              <a:defRPr sz="2263"/>
            </a:lvl6pPr>
            <a:lvl7pPr lvl="6" rtl="0">
              <a:spcBef>
                <a:spcPts val="0"/>
              </a:spcBef>
              <a:spcAft>
                <a:spcPts val="0"/>
              </a:spcAft>
              <a:buSzPts val="1700"/>
              <a:buNone/>
              <a:defRPr sz="2263"/>
            </a:lvl7pPr>
            <a:lvl8pPr lvl="7" rtl="0">
              <a:spcBef>
                <a:spcPts val="0"/>
              </a:spcBef>
              <a:spcAft>
                <a:spcPts val="0"/>
              </a:spcAft>
              <a:buSzPts val="1700"/>
              <a:buNone/>
              <a:defRPr sz="2263"/>
            </a:lvl8pPr>
            <a:lvl9pPr lvl="8" rtl="0">
              <a:spcBef>
                <a:spcPts val="0"/>
              </a:spcBef>
              <a:spcAft>
                <a:spcPts val="0"/>
              </a:spcAft>
              <a:buSzPts val="1700"/>
              <a:buNone/>
              <a:defRPr sz="2263"/>
            </a:lvl9pPr>
          </a:lstStyle>
          <a:p>
            <a:endParaRPr dirty="0"/>
          </a:p>
        </p:txBody>
      </p:sp>
      <p:sp>
        <p:nvSpPr>
          <p:cNvPr id="310" name="Google Shape;310;p29"/>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312" name="Google Shape;312;p29"/>
          <p:cNvSpPr txBox="1">
            <a:spLocks noGrp="1"/>
          </p:cNvSpPr>
          <p:nvPr>
            <p:ph type="body" idx="2"/>
          </p:nvPr>
        </p:nvSpPr>
        <p:spPr>
          <a:xfrm>
            <a:off x="1072896" y="2523744"/>
            <a:ext cx="3889200" cy="1292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13" name="Google Shape;313;p29"/>
          <p:cNvSpPr txBox="1">
            <a:spLocks noGrp="1"/>
          </p:cNvSpPr>
          <p:nvPr>
            <p:ph type="title" idx="3"/>
          </p:nvPr>
        </p:nvSpPr>
        <p:spPr>
          <a:xfrm>
            <a:off x="1267968" y="4572000"/>
            <a:ext cx="2607728" cy="536400"/>
          </a:xfrm>
          <a:prstGeom prst="rect">
            <a:avLst/>
          </a:prstGeom>
        </p:spPr>
        <p:txBody>
          <a:bodyPr spcFirstLastPara="1" wrap="square" lIns="45700" tIns="18275" rIns="45700" bIns="18275" anchor="t" anchorCtr="0">
            <a:noAutofit/>
          </a:bodyPr>
          <a:lstStyle>
            <a:lvl1pPr lvl="0">
              <a:spcBef>
                <a:spcPts val="0"/>
              </a:spcBef>
              <a:spcAft>
                <a:spcPts val="0"/>
              </a:spcAft>
              <a:buSzPts val="2300"/>
              <a:buNone/>
              <a:defRPr sz="2396"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14" name="Google Shape;314;p29"/>
          <p:cNvSpPr txBox="1">
            <a:spLocks noGrp="1"/>
          </p:cNvSpPr>
          <p:nvPr>
            <p:ph type="body" idx="4"/>
          </p:nvPr>
        </p:nvSpPr>
        <p:spPr>
          <a:xfrm>
            <a:off x="1272200" y="5035296"/>
            <a:ext cx="25968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15" name="Google Shape;315;p29"/>
          <p:cNvSpPr txBox="1">
            <a:spLocks noGrp="1"/>
          </p:cNvSpPr>
          <p:nvPr>
            <p:ph type="title" idx="5"/>
          </p:nvPr>
        </p:nvSpPr>
        <p:spPr>
          <a:xfrm>
            <a:off x="4718304" y="4572000"/>
            <a:ext cx="2607728" cy="536400"/>
          </a:xfrm>
          <a:prstGeom prst="rect">
            <a:avLst/>
          </a:prstGeom>
        </p:spPr>
        <p:txBody>
          <a:bodyPr spcFirstLastPara="1" wrap="square" lIns="45700" tIns="18275" rIns="45700" bIns="18275" anchor="t" anchorCtr="0">
            <a:noAutofit/>
          </a:bodyPr>
          <a:lstStyle>
            <a:lvl1pPr lvl="0" rtl="0">
              <a:spcBef>
                <a:spcPts val="0"/>
              </a:spcBef>
              <a:spcAft>
                <a:spcPts val="0"/>
              </a:spcAft>
              <a:buSzPts val="2300"/>
              <a:buNone/>
              <a:defRPr sz="2396"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316" name="Google Shape;316;p29"/>
          <p:cNvSpPr txBox="1">
            <a:spLocks noGrp="1"/>
          </p:cNvSpPr>
          <p:nvPr>
            <p:ph type="body" idx="6"/>
          </p:nvPr>
        </p:nvSpPr>
        <p:spPr>
          <a:xfrm>
            <a:off x="4718304" y="5035296"/>
            <a:ext cx="2596800" cy="6828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7" name="Google Shape;317;p29"/>
          <p:cNvSpPr txBox="1">
            <a:spLocks noGrp="1"/>
          </p:cNvSpPr>
          <p:nvPr>
            <p:ph type="title" idx="7"/>
          </p:nvPr>
        </p:nvSpPr>
        <p:spPr>
          <a:xfrm>
            <a:off x="8167535" y="4572000"/>
            <a:ext cx="2607728" cy="536400"/>
          </a:xfrm>
          <a:prstGeom prst="rect">
            <a:avLst/>
          </a:prstGeom>
        </p:spPr>
        <p:txBody>
          <a:bodyPr spcFirstLastPara="1" wrap="square" lIns="45700" tIns="18275" rIns="45700" bIns="18275" anchor="t" anchorCtr="0">
            <a:noAutofit/>
          </a:bodyPr>
          <a:lstStyle>
            <a:lvl1pPr lvl="0" rtl="0">
              <a:spcBef>
                <a:spcPts val="0"/>
              </a:spcBef>
              <a:spcAft>
                <a:spcPts val="0"/>
              </a:spcAft>
              <a:buSzPts val="2300"/>
              <a:buNone/>
              <a:defRPr sz="2396"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318" name="Google Shape;318;p29"/>
          <p:cNvSpPr txBox="1">
            <a:spLocks noGrp="1"/>
          </p:cNvSpPr>
          <p:nvPr>
            <p:ph type="body" idx="8"/>
          </p:nvPr>
        </p:nvSpPr>
        <p:spPr>
          <a:xfrm>
            <a:off x="8171767" y="5035296"/>
            <a:ext cx="25968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02" name="Google Shape;302;p29">
            <a:extLst>
              <a:ext uri="{C183D7F6-B498-43B3-948B-1728B52AA6E4}">
                <adec:decorative xmlns:adec="http://schemas.microsoft.com/office/drawing/2017/decorative" val="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1F1E1A65-91E3-BC91-E492-EC4FB95BA3CD}"/>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99598061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matchingName="Four Feature Percent" preserve="1" userDrawn="1">
  <p:cSld name="Four Feature Percent">
    <p:spTree>
      <p:nvGrpSpPr>
        <p:cNvPr id="1" name="Shape 319"/>
        <p:cNvGrpSpPr/>
        <p:nvPr/>
      </p:nvGrpSpPr>
      <p:grpSpPr>
        <a:xfrm>
          <a:off x="0" y="0"/>
          <a:ext cx="0" cy="0"/>
          <a:chOff x="0" y="0"/>
          <a:chExt cx="0" cy="0"/>
        </a:xfrm>
      </p:grpSpPr>
      <p:grpSp>
        <p:nvGrpSpPr>
          <p:cNvPr id="3" name="Group 2">
            <a:extLst>
              <a:ext uri="{FF2B5EF4-FFF2-40B4-BE49-F238E27FC236}">
                <a16:creationId xmlns:a16="http://schemas.microsoft.com/office/drawing/2014/main" id="{095B19D0-7CD6-23E0-32F2-108F153D8FE4}"/>
              </a:ext>
              <a:ext uri="{C183D7F6-B498-43B3-948B-1728B52AA6E4}">
                <adec:decorative xmlns:adec="http://schemas.microsoft.com/office/drawing/2017/decorative" val="1"/>
              </a:ext>
            </a:extLst>
          </p:cNvPr>
          <p:cNvGrpSpPr/>
          <p:nvPr userDrawn="1"/>
        </p:nvGrpSpPr>
        <p:grpSpPr>
          <a:xfrm>
            <a:off x="543900" y="-4241506"/>
            <a:ext cx="15829304" cy="10618721"/>
            <a:chOff x="407925" y="-3181130"/>
            <a:chExt cx="11871978" cy="7964041"/>
          </a:xfrm>
        </p:grpSpPr>
        <p:cxnSp>
          <p:nvCxnSpPr>
            <p:cNvPr id="327" name="Google Shape;327;p30">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5E9D2E6C-9D41-36F5-AE6A-96CFAE3B0E95}"/>
                </a:ext>
              </a:extLst>
            </p:cNvPr>
            <p:cNvGrpSpPr/>
            <p:nvPr userDrawn="1"/>
          </p:nvGrpSpPr>
          <p:grpSpPr>
            <a:xfrm>
              <a:off x="407925" y="-3181130"/>
              <a:ext cx="11871978" cy="7964041"/>
              <a:chOff x="407925" y="-3181130"/>
              <a:chExt cx="11871978" cy="7964041"/>
            </a:xfrm>
          </p:grpSpPr>
          <p:cxnSp>
            <p:nvCxnSpPr>
              <p:cNvPr id="320" name="Google Shape;320;p30">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23" name="Google Shape;323;p30">
                <a:extLst>
                  <a:ext uri="{C183D7F6-B498-43B3-948B-1728B52AA6E4}">
                    <adec:decorative xmlns:adec="http://schemas.microsoft.com/office/drawing/2017/decorative" val="1"/>
                  </a:ext>
                </a:extLst>
              </p:cNvPr>
              <p:cNvSpPr/>
              <p:nvPr/>
            </p:nvSpPr>
            <p:spPr>
              <a:xfrm>
                <a:off x="6829683" y="1571805"/>
                <a:ext cx="1085700" cy="1084200"/>
              </a:xfrm>
              <a:prstGeom prst="roundRect">
                <a:avLst>
                  <a:gd name="adj" fmla="val 16667"/>
                </a:avLst>
              </a:prstGeom>
              <a:gradFill>
                <a:gsLst>
                  <a:gs pos="0">
                    <a:srgbClr val="9477E2">
                      <a:alpha val="20000"/>
                    </a:srgbClr>
                  </a:gs>
                  <a:gs pos="2000">
                    <a:srgbClr val="9477E2">
                      <a:alpha val="20000"/>
                    </a:srgbClr>
                  </a:gs>
                  <a:gs pos="100000">
                    <a:srgbClr val="1F9CF0"/>
                  </a:gs>
                </a:gsLst>
                <a:lin ang="18900044"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4" name="Google Shape;324;p30">
                <a:extLst>
                  <a:ext uri="{C183D7F6-B498-43B3-948B-1728B52AA6E4}">
                    <adec:decorative xmlns:adec="http://schemas.microsoft.com/office/drawing/2017/decorative" val="1"/>
                  </a:ext>
                </a:extLst>
              </p:cNvPr>
              <p:cNvSpPr/>
              <p:nvPr/>
            </p:nvSpPr>
            <p:spPr>
              <a:xfrm>
                <a:off x="5892589" y="2758634"/>
                <a:ext cx="814200" cy="813000"/>
              </a:xfrm>
              <a:prstGeom prst="roundRect">
                <a:avLst>
                  <a:gd name="adj" fmla="val 16667"/>
                </a:avLst>
              </a:prstGeom>
              <a:gradFill>
                <a:gsLst>
                  <a:gs pos="0">
                    <a:srgbClr val="19C8EB"/>
                  </a:gs>
                  <a:gs pos="2000">
                    <a:srgbClr val="19C8EB"/>
                  </a:gs>
                  <a:gs pos="100000">
                    <a:srgbClr val="9477E2">
                      <a:alpha val="20000"/>
                    </a:srgbClr>
                  </a:gs>
                </a:gsLst>
                <a:lin ang="18900044"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5" name="Google Shape;325;p30">
                <a:extLst>
                  <a:ext uri="{C183D7F6-B498-43B3-948B-1728B52AA6E4}">
                    <adec:decorative xmlns:adec="http://schemas.microsoft.com/office/drawing/2017/decorative" val="1"/>
                  </a:ext>
                </a:extLst>
              </p:cNvPr>
              <p:cNvSpPr/>
              <p:nvPr/>
            </p:nvSpPr>
            <p:spPr>
              <a:xfrm>
                <a:off x="5078267" y="1029764"/>
                <a:ext cx="1628700" cy="1626000"/>
              </a:xfrm>
              <a:prstGeom prst="roundRect">
                <a:avLst>
                  <a:gd name="adj" fmla="val 16667"/>
                </a:avLst>
              </a:prstGeom>
              <a:gradFill>
                <a:gsLst>
                  <a:gs pos="0">
                    <a:srgbClr val="EC2B8C"/>
                  </a:gs>
                  <a:gs pos="2000">
                    <a:srgbClr val="EC2B8C"/>
                  </a:gs>
                  <a:gs pos="100000">
                    <a:srgbClr val="9477E2">
                      <a:alpha val="2000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6" name="Google Shape;326;p30">
                <a:extLst>
                  <a:ext uri="{C183D7F6-B498-43B3-948B-1728B52AA6E4}">
                    <adec:decorative xmlns:adec="http://schemas.microsoft.com/office/drawing/2017/decorative" val="1"/>
                  </a:ext>
                </a:extLst>
              </p:cNvPr>
              <p:cNvSpPr/>
              <p:nvPr/>
            </p:nvSpPr>
            <p:spPr>
              <a:xfrm>
                <a:off x="6829683" y="2758634"/>
                <a:ext cx="1357200" cy="1355100"/>
              </a:xfrm>
              <a:prstGeom prst="roundRect">
                <a:avLst>
                  <a:gd name="adj" fmla="val 16667"/>
                </a:avLst>
              </a:prstGeom>
              <a:gradFill>
                <a:gsLst>
                  <a:gs pos="0">
                    <a:srgbClr val="9477E2">
                      <a:alpha val="20000"/>
                    </a:srgbClr>
                  </a:gs>
                  <a:gs pos="100000">
                    <a:schemeClr val="accent3"/>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cxnSp>
            <p:nvCxnSpPr>
              <p:cNvPr id="328" name="Google Shape;328;p30">
                <a:extLst>
                  <a:ext uri="{C183D7F6-B498-43B3-948B-1728B52AA6E4}">
                    <adec:decorative xmlns:adec="http://schemas.microsoft.com/office/drawing/2017/decorative" val="1"/>
                  </a:ext>
                </a:extLst>
              </p:cNvPr>
              <p:cNvCxnSpPr/>
              <p:nvPr/>
            </p:nvCxnSpPr>
            <p:spPr>
              <a:xfrm>
                <a:off x="841229" y="2194917"/>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29" name="Google Shape;329;p30">
                <a:extLst>
                  <a:ext uri="{C183D7F6-B498-43B3-948B-1728B52AA6E4}">
                    <adec:decorative xmlns:adec="http://schemas.microsoft.com/office/drawing/2017/decorative" val="1"/>
                  </a:ext>
                </a:extLst>
              </p:cNvPr>
              <p:cNvCxnSpPr/>
              <p:nvPr/>
            </p:nvCxnSpPr>
            <p:spPr>
              <a:xfrm>
                <a:off x="2795550" y="2202778"/>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0" name="Google Shape;330;p30">
                <a:extLst>
                  <a:ext uri="{C183D7F6-B498-43B3-948B-1728B52AA6E4}">
                    <adec:decorative xmlns:adec="http://schemas.microsoft.com/office/drawing/2017/decorative" val="1"/>
                  </a:ext>
                </a:extLst>
              </p:cNvPr>
              <p:cNvCxnSpPr/>
              <p:nvPr/>
            </p:nvCxnSpPr>
            <p:spPr>
              <a:xfrm>
                <a:off x="841229" y="3441072"/>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1" name="Google Shape;331;p30">
                <a:extLst>
                  <a:ext uri="{C183D7F6-B498-43B3-948B-1728B52AA6E4}">
                    <adec:decorative xmlns:adec="http://schemas.microsoft.com/office/drawing/2017/decorative" val="1"/>
                  </a:ext>
                </a:extLst>
              </p:cNvPr>
              <p:cNvCxnSpPr/>
              <p:nvPr/>
            </p:nvCxnSpPr>
            <p:spPr>
              <a:xfrm>
                <a:off x="2795550" y="3448932"/>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grpSp>
            <p:nvGrpSpPr>
              <p:cNvPr id="332" name="Google Shape;332;p30">
                <a:extLst>
                  <a:ext uri="{C183D7F6-B498-43B3-948B-1728B52AA6E4}">
                    <adec:decorative xmlns:adec="http://schemas.microsoft.com/office/drawing/2017/decorative" val="1"/>
                  </a:ext>
                </a:extLst>
              </p:cNvPr>
              <p:cNvGrpSpPr/>
              <p:nvPr/>
            </p:nvGrpSpPr>
            <p:grpSpPr>
              <a:xfrm>
                <a:off x="6293503" y="2234842"/>
                <a:ext cx="940705" cy="938664"/>
                <a:chOff x="6104965" y="2265289"/>
                <a:chExt cx="1855800" cy="1855800"/>
              </a:xfrm>
            </p:grpSpPr>
            <p:sp>
              <p:nvSpPr>
                <p:cNvPr id="333" name="Google Shape;333;p3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34" name="Google Shape;334;p3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35" name="Google Shape;335;p3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336" name="Google Shape;336;p3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078267" y="-3181130"/>
                <a:ext cx="3762369" cy="3762369"/>
              </a:xfrm>
              <a:prstGeom prst="rect">
                <a:avLst/>
              </a:prstGeom>
              <a:noFill/>
              <a:ln>
                <a:noFill/>
              </a:ln>
            </p:spPr>
          </p:pic>
          <p:pic>
            <p:nvPicPr>
              <p:cNvPr id="337" name="Google Shape;337;p3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517534" y="823098"/>
                <a:ext cx="3762369" cy="3762369"/>
              </a:xfrm>
              <a:prstGeom prst="rect">
                <a:avLst/>
              </a:prstGeom>
              <a:noFill/>
              <a:ln>
                <a:noFill/>
              </a:ln>
            </p:spPr>
          </p:pic>
          <p:sp>
            <p:nvSpPr>
              <p:cNvPr id="338" name="Google Shape;338;p30">
                <a:extLst>
                  <a:ext uri="{C183D7F6-B498-43B3-948B-1728B52AA6E4}">
                    <adec:decorative xmlns:adec="http://schemas.microsoft.com/office/drawing/2017/decorative" val="1"/>
                  </a:ext>
                </a:extLst>
              </p:cNvPr>
              <p:cNvSpPr/>
              <p:nvPr/>
            </p:nvSpPr>
            <p:spPr>
              <a:xfrm rot="10800000">
                <a:off x="407925" y="350"/>
                <a:ext cx="73200" cy="1925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grpSp>
      <p:sp>
        <p:nvSpPr>
          <p:cNvPr id="340" name="Google Shape;340;p30"/>
          <p:cNvSpPr txBox="1">
            <a:spLocks noGrp="1"/>
          </p:cNvSpPr>
          <p:nvPr>
            <p:ph type="title"/>
          </p:nvPr>
        </p:nvSpPr>
        <p:spPr>
          <a:xfrm>
            <a:off x="1060704" y="1243584"/>
            <a:ext cx="4681600" cy="14388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6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dirty="0"/>
          </a:p>
        </p:txBody>
      </p:sp>
      <p:sp>
        <p:nvSpPr>
          <p:cNvPr id="339" name="Google Shape;339;p3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42" name="Google Shape;529;p35">
            <a:extLst>
              <a:ext uri="{FF2B5EF4-FFF2-40B4-BE49-F238E27FC236}">
                <a16:creationId xmlns:a16="http://schemas.microsoft.com/office/drawing/2014/main" id="{7BC10B83-334E-CA31-E327-359586F238C4}"/>
              </a:ext>
            </a:extLst>
          </p:cNvPr>
          <p:cNvSpPr>
            <a:spLocks noGrp="1"/>
          </p:cNvSpPr>
          <p:nvPr>
            <p:ph type="pic" idx="3"/>
          </p:nvPr>
        </p:nvSpPr>
        <p:spPr>
          <a:xfrm>
            <a:off x="1121664" y="3108006"/>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5" name="Google Shape;345;p30"/>
          <p:cNvSpPr txBox="1">
            <a:spLocks noGrp="1"/>
          </p:cNvSpPr>
          <p:nvPr>
            <p:ph type="body" idx="6"/>
          </p:nvPr>
        </p:nvSpPr>
        <p:spPr>
          <a:xfrm>
            <a:off x="1560576" y="3097246"/>
            <a:ext cx="1736992"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49" name="Google Shape;349;p30"/>
          <p:cNvSpPr txBox="1">
            <a:spLocks noGrp="1"/>
          </p:cNvSpPr>
          <p:nvPr>
            <p:ph type="body" idx="13"/>
          </p:nvPr>
        </p:nvSpPr>
        <p:spPr>
          <a:xfrm>
            <a:off x="1560576" y="3377661"/>
            <a:ext cx="1816800" cy="78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46" name="Google Shape;529;p35">
            <a:extLst>
              <a:ext uri="{FF2B5EF4-FFF2-40B4-BE49-F238E27FC236}">
                <a16:creationId xmlns:a16="http://schemas.microsoft.com/office/drawing/2014/main" id="{9E7EC705-9E42-4703-81F6-DF51ACEEDE7E}"/>
              </a:ext>
            </a:extLst>
          </p:cNvPr>
          <p:cNvSpPr>
            <a:spLocks noGrp="1"/>
          </p:cNvSpPr>
          <p:nvPr>
            <p:ph type="pic" idx="26"/>
          </p:nvPr>
        </p:nvSpPr>
        <p:spPr>
          <a:xfrm>
            <a:off x="3727397" y="3108006"/>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6" name="Google Shape;346;p30"/>
          <p:cNvSpPr txBox="1">
            <a:spLocks noGrp="1"/>
          </p:cNvSpPr>
          <p:nvPr>
            <p:ph type="body" idx="7"/>
          </p:nvPr>
        </p:nvSpPr>
        <p:spPr>
          <a:xfrm>
            <a:off x="4169664" y="3097246"/>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2" name="Google Shape;352;p30"/>
          <p:cNvSpPr txBox="1">
            <a:spLocks noGrp="1"/>
          </p:cNvSpPr>
          <p:nvPr>
            <p:ph type="body" idx="16"/>
          </p:nvPr>
        </p:nvSpPr>
        <p:spPr>
          <a:xfrm>
            <a:off x="4169664" y="3365469"/>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5" name="Google Shape;529;p35">
            <a:extLst>
              <a:ext uri="{FF2B5EF4-FFF2-40B4-BE49-F238E27FC236}">
                <a16:creationId xmlns:a16="http://schemas.microsoft.com/office/drawing/2014/main" id="{47D20B33-4CCE-6357-77D9-C2A578FB6843}"/>
              </a:ext>
            </a:extLst>
          </p:cNvPr>
          <p:cNvSpPr>
            <a:spLocks noGrp="1"/>
          </p:cNvSpPr>
          <p:nvPr>
            <p:ph type="pic" idx="25"/>
          </p:nvPr>
        </p:nvSpPr>
        <p:spPr>
          <a:xfrm>
            <a:off x="1121664" y="4770973"/>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7" name="Google Shape;347;p30"/>
          <p:cNvSpPr txBox="1">
            <a:spLocks noGrp="1"/>
          </p:cNvSpPr>
          <p:nvPr>
            <p:ph type="body" idx="8"/>
          </p:nvPr>
        </p:nvSpPr>
        <p:spPr>
          <a:xfrm>
            <a:off x="1560576" y="4779741"/>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0" name="Google Shape;350;p30"/>
          <p:cNvSpPr txBox="1">
            <a:spLocks noGrp="1"/>
          </p:cNvSpPr>
          <p:nvPr>
            <p:ph type="body" idx="14"/>
          </p:nvPr>
        </p:nvSpPr>
        <p:spPr>
          <a:xfrm>
            <a:off x="1560576" y="5047966"/>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7" name="Google Shape;529;p35">
            <a:extLst>
              <a:ext uri="{FF2B5EF4-FFF2-40B4-BE49-F238E27FC236}">
                <a16:creationId xmlns:a16="http://schemas.microsoft.com/office/drawing/2014/main" id="{3BE4CD98-91FB-1B51-5F85-8E6D84A6823C}"/>
              </a:ext>
            </a:extLst>
          </p:cNvPr>
          <p:cNvSpPr>
            <a:spLocks noGrp="1"/>
          </p:cNvSpPr>
          <p:nvPr>
            <p:ph type="pic" idx="27"/>
          </p:nvPr>
        </p:nvSpPr>
        <p:spPr>
          <a:xfrm>
            <a:off x="3727397" y="4770973"/>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8" name="Google Shape;348;p30"/>
          <p:cNvSpPr txBox="1">
            <a:spLocks noGrp="1"/>
          </p:cNvSpPr>
          <p:nvPr>
            <p:ph type="body" idx="9"/>
          </p:nvPr>
        </p:nvSpPr>
        <p:spPr>
          <a:xfrm>
            <a:off x="4169664" y="4767549"/>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1" name="Google Shape;351;p30"/>
          <p:cNvSpPr txBox="1">
            <a:spLocks noGrp="1"/>
          </p:cNvSpPr>
          <p:nvPr>
            <p:ph type="body" idx="15"/>
          </p:nvPr>
        </p:nvSpPr>
        <p:spPr>
          <a:xfrm>
            <a:off x="4169676" y="5047966"/>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3" name="Google Shape;353;p30"/>
          <p:cNvSpPr txBox="1">
            <a:spLocks noGrp="1"/>
          </p:cNvSpPr>
          <p:nvPr>
            <p:ph type="title" idx="17"/>
          </p:nvPr>
        </p:nvSpPr>
        <p:spPr>
          <a:xfrm>
            <a:off x="7193280" y="1706880"/>
            <a:ext cx="987600" cy="54903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500"/>
              <a:buNone/>
              <a:defRPr sz="3328" b="1" i="0">
                <a:latin typeface="Helvetica" pitchFamily="2" charset="0"/>
              </a:defRPr>
            </a:lvl1pPr>
            <a:lvl2pPr lvl="1">
              <a:spcBef>
                <a:spcPts val="0"/>
              </a:spcBef>
              <a:spcAft>
                <a:spcPts val="0"/>
              </a:spcAft>
              <a:buSzPts val="2500"/>
              <a:buNone/>
              <a:defRPr sz="3328"/>
            </a:lvl2pPr>
            <a:lvl3pPr lvl="2">
              <a:spcBef>
                <a:spcPts val="0"/>
              </a:spcBef>
              <a:spcAft>
                <a:spcPts val="0"/>
              </a:spcAft>
              <a:buSzPts val="2500"/>
              <a:buNone/>
              <a:defRPr sz="3328"/>
            </a:lvl3pPr>
            <a:lvl4pPr lvl="3">
              <a:spcBef>
                <a:spcPts val="0"/>
              </a:spcBef>
              <a:spcAft>
                <a:spcPts val="0"/>
              </a:spcAft>
              <a:buSzPts val="2500"/>
              <a:buNone/>
              <a:defRPr sz="3328"/>
            </a:lvl4pPr>
            <a:lvl5pPr lvl="4">
              <a:spcBef>
                <a:spcPts val="0"/>
              </a:spcBef>
              <a:spcAft>
                <a:spcPts val="0"/>
              </a:spcAft>
              <a:buSzPts val="2500"/>
              <a:buNone/>
              <a:defRPr sz="3328"/>
            </a:lvl5pPr>
            <a:lvl6pPr lvl="5">
              <a:spcBef>
                <a:spcPts val="0"/>
              </a:spcBef>
              <a:spcAft>
                <a:spcPts val="0"/>
              </a:spcAft>
              <a:buSzPts val="2500"/>
              <a:buNone/>
              <a:defRPr sz="3328"/>
            </a:lvl6pPr>
            <a:lvl7pPr lvl="6">
              <a:spcBef>
                <a:spcPts val="0"/>
              </a:spcBef>
              <a:spcAft>
                <a:spcPts val="0"/>
              </a:spcAft>
              <a:buSzPts val="2500"/>
              <a:buNone/>
              <a:defRPr sz="3328"/>
            </a:lvl7pPr>
            <a:lvl8pPr lvl="7">
              <a:spcBef>
                <a:spcPts val="0"/>
              </a:spcBef>
              <a:spcAft>
                <a:spcPts val="0"/>
              </a:spcAft>
              <a:buSzPts val="2500"/>
              <a:buNone/>
              <a:defRPr sz="3328"/>
            </a:lvl8pPr>
            <a:lvl9pPr lvl="8">
              <a:spcBef>
                <a:spcPts val="0"/>
              </a:spcBef>
              <a:spcAft>
                <a:spcPts val="0"/>
              </a:spcAft>
              <a:buSzPts val="2500"/>
              <a:buNone/>
              <a:defRPr sz="3328"/>
            </a:lvl9pPr>
          </a:lstStyle>
          <a:p>
            <a:endParaRPr dirty="0"/>
          </a:p>
        </p:txBody>
      </p:sp>
      <p:sp>
        <p:nvSpPr>
          <p:cNvPr id="354" name="Google Shape;354;p30"/>
          <p:cNvSpPr txBox="1">
            <a:spLocks noGrp="1"/>
          </p:cNvSpPr>
          <p:nvPr>
            <p:ph type="title" idx="18"/>
          </p:nvPr>
        </p:nvSpPr>
        <p:spPr>
          <a:xfrm>
            <a:off x="9668256" y="2340864"/>
            <a:ext cx="694800" cy="38514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700"/>
              <a:buNone/>
              <a:defRPr sz="226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8" name="Google Shape;529;p35">
            <a:extLst>
              <a:ext uri="{FF2B5EF4-FFF2-40B4-BE49-F238E27FC236}">
                <a16:creationId xmlns:a16="http://schemas.microsoft.com/office/drawing/2014/main" id="{5ED9FBF0-06E9-FA7C-58B6-99E0ACE40C3F}"/>
              </a:ext>
            </a:extLst>
          </p:cNvPr>
          <p:cNvSpPr>
            <a:spLocks noGrp="1"/>
          </p:cNvSpPr>
          <p:nvPr>
            <p:ph type="pic" idx="28"/>
          </p:nvPr>
        </p:nvSpPr>
        <p:spPr>
          <a:xfrm>
            <a:off x="8802624" y="3389376"/>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57" name="Google Shape;357;p30"/>
          <p:cNvSpPr txBox="1">
            <a:spLocks noGrp="1"/>
          </p:cNvSpPr>
          <p:nvPr>
            <p:ph type="title" idx="21"/>
          </p:nvPr>
        </p:nvSpPr>
        <p:spPr>
          <a:xfrm>
            <a:off x="7985760" y="4279392"/>
            <a:ext cx="500000" cy="26222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100"/>
              <a:buNone/>
              <a:defRPr sz="1464"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56" name="Google Shape;356;p30"/>
          <p:cNvSpPr txBox="1">
            <a:spLocks noGrp="1"/>
          </p:cNvSpPr>
          <p:nvPr>
            <p:ph type="title" idx="20"/>
          </p:nvPr>
        </p:nvSpPr>
        <p:spPr>
          <a:xfrm>
            <a:off x="9814561" y="4657344"/>
            <a:ext cx="841200" cy="467153"/>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100"/>
              <a:buNone/>
              <a:defRPr sz="2796"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22" name="Google Shape;322;p30">
            <a:extLst>
              <a:ext uri="{C183D7F6-B498-43B3-948B-1728B52AA6E4}">
                <adec:decorative xmlns:adec="http://schemas.microsoft.com/office/drawing/2017/decorative" val="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883FBA8F-F462-3F7B-65F8-4A245AFC0C1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7976016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matchingName="Three Photo Features" preserve="1" userDrawn="1">
  <p:cSld name="Three Photo Features">
    <p:spTree>
      <p:nvGrpSpPr>
        <p:cNvPr id="1" name="Shape 358"/>
        <p:cNvGrpSpPr/>
        <p:nvPr/>
      </p:nvGrpSpPr>
      <p:grpSpPr>
        <a:xfrm>
          <a:off x="0" y="0"/>
          <a:ext cx="0" cy="0"/>
          <a:chOff x="0" y="0"/>
          <a:chExt cx="0" cy="0"/>
        </a:xfrm>
      </p:grpSpPr>
      <p:grpSp>
        <p:nvGrpSpPr>
          <p:cNvPr id="2" name="Group 1">
            <a:extLst>
              <a:ext uri="{FF2B5EF4-FFF2-40B4-BE49-F238E27FC236}">
                <a16:creationId xmlns:a16="http://schemas.microsoft.com/office/drawing/2014/main" id="{87E2A12B-1511-1ED8-9CEB-D63E1BD3A3AF}"/>
              </a:ext>
              <a:ext uri="{C183D7F6-B498-43B3-948B-1728B52AA6E4}">
                <adec:decorative xmlns:adec="http://schemas.microsoft.com/office/drawing/2017/decorative" val="1"/>
              </a:ext>
            </a:extLst>
          </p:cNvPr>
          <p:cNvGrpSpPr/>
          <p:nvPr userDrawn="1"/>
        </p:nvGrpSpPr>
        <p:grpSpPr>
          <a:xfrm>
            <a:off x="-3985858" y="817737"/>
            <a:ext cx="20155953" cy="5559479"/>
            <a:chOff x="-2989394" y="613302"/>
            <a:chExt cx="15116965" cy="4169609"/>
          </a:xfrm>
        </p:grpSpPr>
        <p:cxnSp>
          <p:nvCxnSpPr>
            <p:cNvPr id="362" name="Google Shape;362;p31">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363" name="Google Shape;363;p31">
              <a:extLst>
                <a:ext uri="{C183D7F6-B498-43B3-948B-1728B52AA6E4}">
                  <adec:decorative xmlns:adec="http://schemas.microsoft.com/office/drawing/2017/decorative" val="1"/>
                </a:ext>
              </a:extLst>
            </p:cNvPr>
            <p:cNvSpPr/>
            <p:nvPr/>
          </p:nvSpPr>
          <p:spPr>
            <a:xfrm>
              <a:off x="973666" y="4462608"/>
              <a:ext cx="2331900" cy="675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64" name="Google Shape;364;p31">
              <a:extLst>
                <a:ext uri="{C183D7F6-B498-43B3-948B-1728B52AA6E4}">
                  <adec:decorative xmlns:adec="http://schemas.microsoft.com/office/drawing/2017/decorative" val="1"/>
                </a:ext>
              </a:extLst>
            </p:cNvPr>
            <p:cNvSpPr/>
            <p:nvPr/>
          </p:nvSpPr>
          <p:spPr>
            <a:xfrm>
              <a:off x="3406048" y="4462506"/>
              <a:ext cx="2331900" cy="67500"/>
            </a:xfrm>
            <a:prstGeom prst="rect">
              <a:avLst/>
            </a:prstGeom>
            <a:gradFill>
              <a:gsLst>
                <a:gs pos="0">
                  <a:srgbClr val="9477E2"/>
                </a:gs>
                <a:gs pos="100000">
                  <a:srgbClr val="5C30D3"/>
                </a:gs>
              </a:gsLst>
              <a:lin ang="0"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365" name="Google Shape;365;p31">
              <a:extLst>
                <a:ext uri="{C183D7F6-B498-43B3-948B-1728B52AA6E4}">
                  <adec:decorative xmlns:adec="http://schemas.microsoft.com/office/drawing/2017/decorative" val="1"/>
                </a:ext>
              </a:extLst>
            </p:cNvPr>
            <p:cNvSpPr/>
            <p:nvPr/>
          </p:nvSpPr>
          <p:spPr>
            <a:xfrm>
              <a:off x="5838427" y="4462507"/>
              <a:ext cx="2331900" cy="67500"/>
            </a:xfrm>
            <a:prstGeom prst="rect">
              <a:avLst/>
            </a:prstGeom>
            <a:gradFill>
              <a:gsLst>
                <a:gs pos="0">
                  <a:schemeClr val="accent3"/>
                </a:gs>
                <a:gs pos="100000">
                  <a:srgbClr val="0070C0"/>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366" name="Google Shape;366;p31">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621803"/>
              <a:ext cx="3762369" cy="3762369"/>
            </a:xfrm>
            <a:prstGeom prst="rect">
              <a:avLst/>
            </a:prstGeom>
            <a:noFill/>
            <a:ln>
              <a:noFill/>
            </a:ln>
          </p:spPr>
        </p:pic>
        <p:pic>
          <p:nvPicPr>
            <p:cNvPr id="367" name="Google Shape;367;p31">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2989394" y="621803"/>
              <a:ext cx="3762369" cy="3762369"/>
            </a:xfrm>
            <a:prstGeom prst="rect">
              <a:avLst/>
            </a:prstGeom>
            <a:noFill/>
            <a:ln>
              <a:noFill/>
            </a:ln>
          </p:spPr>
        </p:pic>
        <p:cxnSp>
          <p:nvCxnSpPr>
            <p:cNvPr id="25" name="Google Shape;67;p15">
              <a:extLst>
                <a:ext uri="{FF2B5EF4-FFF2-40B4-BE49-F238E27FC236}">
                  <a16:creationId xmlns:a16="http://schemas.microsoft.com/office/drawing/2014/main" id="{59EF79C9-532E-EB4D-88E4-C7C259E88941}"/>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369" name="Google Shape;369;p31"/>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8" name="Google Shape;368;p31"/>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370" name="Google Shape;370;p31"/>
          <p:cNvSpPr>
            <a:spLocks noGrp="1"/>
          </p:cNvSpPr>
          <p:nvPr>
            <p:ph type="pic" idx="2"/>
          </p:nvPr>
        </p:nvSpPr>
        <p:spPr>
          <a:xfrm>
            <a:off x="1280160"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3" name="Google Shape;373;p31"/>
          <p:cNvSpPr txBox="1">
            <a:spLocks noGrp="1"/>
          </p:cNvSpPr>
          <p:nvPr>
            <p:ph type="body" idx="5"/>
          </p:nvPr>
        </p:nvSpPr>
        <p:spPr>
          <a:xfrm>
            <a:off x="1721555" y="4255008"/>
            <a:ext cx="2268555"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a:lnSpc>
                <a:spcPct val="100000"/>
              </a:lnSpc>
              <a:spcBef>
                <a:spcPts val="0"/>
              </a:spcBef>
              <a:spcAft>
                <a:spcPts val="0"/>
              </a:spcAft>
              <a:buSzPts val="1100"/>
              <a:buChar char="○"/>
              <a:defRPr sz="1464"/>
            </a:lvl2pPr>
            <a:lvl3pPr marL="1825943" lvl="2" indent="-397312" algn="ctr">
              <a:lnSpc>
                <a:spcPct val="100000"/>
              </a:lnSpc>
              <a:spcBef>
                <a:spcPts val="0"/>
              </a:spcBef>
              <a:spcAft>
                <a:spcPts val="0"/>
              </a:spcAft>
              <a:buSzPts val="1100"/>
              <a:buChar char="■"/>
              <a:defRPr sz="1464"/>
            </a:lvl3pPr>
            <a:lvl4pPr marL="2434590" lvl="3" indent="-397312" algn="ctr">
              <a:lnSpc>
                <a:spcPct val="100000"/>
              </a:lnSpc>
              <a:spcBef>
                <a:spcPts val="0"/>
              </a:spcBef>
              <a:spcAft>
                <a:spcPts val="0"/>
              </a:spcAft>
              <a:buSzPts val="1100"/>
              <a:buChar char="●"/>
              <a:defRPr sz="1464"/>
            </a:lvl4pPr>
            <a:lvl5pPr marL="3043238" lvl="4" indent="-397312" algn="ctr">
              <a:lnSpc>
                <a:spcPct val="100000"/>
              </a:lnSpc>
              <a:spcBef>
                <a:spcPts val="0"/>
              </a:spcBef>
              <a:spcAft>
                <a:spcPts val="0"/>
              </a:spcAft>
              <a:buSzPts val="1100"/>
              <a:buChar char="○"/>
              <a:defRPr sz="1464"/>
            </a:lvl5pPr>
            <a:lvl6pPr marL="3651885" lvl="5" indent="-397312" algn="ctr">
              <a:lnSpc>
                <a:spcPct val="100000"/>
              </a:lnSpc>
              <a:spcBef>
                <a:spcPts val="0"/>
              </a:spcBef>
              <a:spcAft>
                <a:spcPts val="0"/>
              </a:spcAft>
              <a:buSzPts val="1100"/>
              <a:buChar char="■"/>
              <a:defRPr sz="1464"/>
            </a:lvl6pPr>
            <a:lvl7pPr marL="4260533" lvl="6" indent="-397312" algn="ctr">
              <a:lnSpc>
                <a:spcPct val="100000"/>
              </a:lnSpc>
              <a:spcBef>
                <a:spcPts val="0"/>
              </a:spcBef>
              <a:spcAft>
                <a:spcPts val="0"/>
              </a:spcAft>
              <a:buSzPts val="1100"/>
              <a:buChar char="●"/>
              <a:defRPr sz="1464"/>
            </a:lvl7pPr>
            <a:lvl8pPr marL="4869180" lvl="7" indent="-397312" algn="ctr">
              <a:lnSpc>
                <a:spcPct val="100000"/>
              </a:lnSpc>
              <a:spcBef>
                <a:spcPts val="0"/>
              </a:spcBef>
              <a:spcAft>
                <a:spcPts val="0"/>
              </a:spcAft>
              <a:buSzPts val="1100"/>
              <a:buChar char="○"/>
              <a:defRPr sz="1464"/>
            </a:lvl8pPr>
            <a:lvl9pPr marL="5477828" lvl="8" indent="-397312" algn="ctr">
              <a:lnSpc>
                <a:spcPct val="100000"/>
              </a:lnSpc>
              <a:spcBef>
                <a:spcPts val="0"/>
              </a:spcBef>
              <a:spcAft>
                <a:spcPts val="0"/>
              </a:spcAft>
              <a:buSzPts val="1100"/>
              <a:buChar char="■"/>
              <a:defRPr sz="1464"/>
            </a:lvl9pPr>
          </a:lstStyle>
          <a:p>
            <a:endParaRPr dirty="0"/>
          </a:p>
        </p:txBody>
      </p:sp>
      <p:sp>
        <p:nvSpPr>
          <p:cNvPr id="374" name="Google Shape;374;p31"/>
          <p:cNvSpPr txBox="1">
            <a:spLocks noGrp="1"/>
          </p:cNvSpPr>
          <p:nvPr>
            <p:ph type="body" idx="6"/>
          </p:nvPr>
        </p:nvSpPr>
        <p:spPr>
          <a:xfrm>
            <a:off x="1487424" y="4596384"/>
            <a:ext cx="2731200" cy="10844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lgn="ctr">
              <a:spcBef>
                <a:spcPts val="0"/>
              </a:spcBef>
              <a:spcAft>
                <a:spcPts val="0"/>
              </a:spcAft>
              <a:buSzPts val="800"/>
              <a:buChar char="○"/>
              <a:defRPr sz="1065"/>
            </a:lvl2pPr>
            <a:lvl3pPr marL="1825943" lvl="2" indent="-371951" algn="ctr">
              <a:spcBef>
                <a:spcPts val="0"/>
              </a:spcBef>
              <a:spcAft>
                <a:spcPts val="0"/>
              </a:spcAft>
              <a:buSzPts val="800"/>
              <a:buChar char="■"/>
              <a:defRPr sz="1065"/>
            </a:lvl3pPr>
            <a:lvl4pPr marL="2434590" lvl="3" indent="-371951" algn="ctr">
              <a:spcBef>
                <a:spcPts val="0"/>
              </a:spcBef>
              <a:spcAft>
                <a:spcPts val="0"/>
              </a:spcAft>
              <a:buSzPts val="800"/>
              <a:buChar char="●"/>
              <a:defRPr sz="1065"/>
            </a:lvl4pPr>
            <a:lvl5pPr marL="3043238" lvl="4" indent="-371951" algn="ctr">
              <a:spcBef>
                <a:spcPts val="0"/>
              </a:spcBef>
              <a:spcAft>
                <a:spcPts val="0"/>
              </a:spcAft>
              <a:buSzPts val="800"/>
              <a:buChar char="○"/>
              <a:defRPr sz="1065"/>
            </a:lvl5pPr>
            <a:lvl6pPr marL="3651885" lvl="5" indent="-371951" algn="ctr">
              <a:spcBef>
                <a:spcPts val="0"/>
              </a:spcBef>
              <a:spcAft>
                <a:spcPts val="0"/>
              </a:spcAft>
              <a:buSzPts val="800"/>
              <a:buChar char="■"/>
              <a:defRPr sz="1065"/>
            </a:lvl6pPr>
            <a:lvl7pPr marL="4260533" lvl="6" indent="-371951" algn="ctr">
              <a:spcBef>
                <a:spcPts val="0"/>
              </a:spcBef>
              <a:spcAft>
                <a:spcPts val="0"/>
              </a:spcAft>
              <a:buSzPts val="800"/>
              <a:buChar char="●"/>
              <a:defRPr sz="1065"/>
            </a:lvl7pPr>
            <a:lvl8pPr marL="4869180" lvl="7" indent="-371951" algn="ctr">
              <a:spcBef>
                <a:spcPts val="0"/>
              </a:spcBef>
              <a:spcAft>
                <a:spcPts val="0"/>
              </a:spcAft>
              <a:buSzPts val="800"/>
              <a:buChar char="○"/>
              <a:defRPr sz="1065"/>
            </a:lvl8pPr>
            <a:lvl9pPr marL="5477828" lvl="8" indent="-371951" algn="ctr">
              <a:spcBef>
                <a:spcPts val="0"/>
              </a:spcBef>
              <a:spcAft>
                <a:spcPts val="0"/>
              </a:spcAft>
              <a:buSzPts val="800"/>
              <a:buChar char="■"/>
              <a:defRPr sz="1065"/>
            </a:lvl9pPr>
          </a:lstStyle>
          <a:p>
            <a:endParaRPr dirty="0"/>
          </a:p>
        </p:txBody>
      </p:sp>
      <p:sp>
        <p:nvSpPr>
          <p:cNvPr id="22" name="Google Shape;370;p31">
            <a:extLst>
              <a:ext uri="{FF2B5EF4-FFF2-40B4-BE49-F238E27FC236}">
                <a16:creationId xmlns:a16="http://schemas.microsoft.com/office/drawing/2014/main" id="{26B93829-5EF5-CA41-B05B-10A28F1A387C}"/>
              </a:ext>
            </a:extLst>
          </p:cNvPr>
          <p:cNvSpPr>
            <a:spLocks noGrp="1"/>
          </p:cNvSpPr>
          <p:nvPr>
            <p:ph type="pic" idx="14"/>
          </p:nvPr>
        </p:nvSpPr>
        <p:spPr>
          <a:xfrm>
            <a:off x="4535424"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5" name="Google Shape;375;p31"/>
          <p:cNvSpPr txBox="1">
            <a:spLocks noGrp="1"/>
          </p:cNvSpPr>
          <p:nvPr>
            <p:ph type="body" idx="7"/>
          </p:nvPr>
        </p:nvSpPr>
        <p:spPr>
          <a:xfrm>
            <a:off x="4922944" y="4249364"/>
            <a:ext cx="23439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rtl="0">
              <a:lnSpc>
                <a:spcPct val="100000"/>
              </a:lnSpc>
              <a:spcBef>
                <a:spcPts val="0"/>
              </a:spcBef>
              <a:spcAft>
                <a:spcPts val="0"/>
              </a:spcAft>
              <a:buSzPts val="1100"/>
              <a:buChar char="○"/>
              <a:defRPr sz="1464"/>
            </a:lvl2pPr>
            <a:lvl3pPr marL="1825943" lvl="2" indent="-397312" algn="ctr" rtl="0">
              <a:lnSpc>
                <a:spcPct val="100000"/>
              </a:lnSpc>
              <a:spcBef>
                <a:spcPts val="0"/>
              </a:spcBef>
              <a:spcAft>
                <a:spcPts val="0"/>
              </a:spcAft>
              <a:buSzPts val="1100"/>
              <a:buChar char="■"/>
              <a:defRPr sz="1464"/>
            </a:lvl3pPr>
            <a:lvl4pPr marL="2434590" lvl="3" indent="-397312" algn="ctr" rtl="0">
              <a:lnSpc>
                <a:spcPct val="100000"/>
              </a:lnSpc>
              <a:spcBef>
                <a:spcPts val="0"/>
              </a:spcBef>
              <a:spcAft>
                <a:spcPts val="0"/>
              </a:spcAft>
              <a:buSzPts val="1100"/>
              <a:buChar char="●"/>
              <a:defRPr sz="1464"/>
            </a:lvl4pPr>
            <a:lvl5pPr marL="3043238" lvl="4" indent="-397312" algn="ctr" rtl="0">
              <a:lnSpc>
                <a:spcPct val="100000"/>
              </a:lnSpc>
              <a:spcBef>
                <a:spcPts val="0"/>
              </a:spcBef>
              <a:spcAft>
                <a:spcPts val="0"/>
              </a:spcAft>
              <a:buSzPts val="1100"/>
              <a:buChar char="○"/>
              <a:defRPr sz="1464"/>
            </a:lvl5pPr>
            <a:lvl6pPr marL="3651885" lvl="5" indent="-397312" algn="ctr" rtl="0">
              <a:lnSpc>
                <a:spcPct val="100000"/>
              </a:lnSpc>
              <a:spcBef>
                <a:spcPts val="0"/>
              </a:spcBef>
              <a:spcAft>
                <a:spcPts val="0"/>
              </a:spcAft>
              <a:buSzPts val="1100"/>
              <a:buChar char="■"/>
              <a:defRPr sz="1464"/>
            </a:lvl6pPr>
            <a:lvl7pPr marL="4260533" lvl="6" indent="-397312" algn="ctr" rtl="0">
              <a:lnSpc>
                <a:spcPct val="100000"/>
              </a:lnSpc>
              <a:spcBef>
                <a:spcPts val="0"/>
              </a:spcBef>
              <a:spcAft>
                <a:spcPts val="0"/>
              </a:spcAft>
              <a:buSzPts val="1100"/>
              <a:buChar char="●"/>
              <a:defRPr sz="1464"/>
            </a:lvl7pPr>
            <a:lvl8pPr marL="4869180" lvl="7" indent="-397312" algn="ctr" rtl="0">
              <a:lnSpc>
                <a:spcPct val="100000"/>
              </a:lnSpc>
              <a:spcBef>
                <a:spcPts val="0"/>
              </a:spcBef>
              <a:spcAft>
                <a:spcPts val="0"/>
              </a:spcAft>
              <a:buSzPts val="1100"/>
              <a:buChar char="○"/>
              <a:defRPr sz="1464"/>
            </a:lvl8pPr>
            <a:lvl9pPr marL="5477828" lvl="8" indent="-397312" algn="ctr" rtl="0">
              <a:lnSpc>
                <a:spcPct val="100000"/>
              </a:lnSpc>
              <a:spcBef>
                <a:spcPts val="0"/>
              </a:spcBef>
              <a:spcAft>
                <a:spcPts val="0"/>
              </a:spcAft>
              <a:buSzPts val="1100"/>
              <a:buChar char="■"/>
              <a:defRPr sz="1464"/>
            </a:lvl9pPr>
          </a:lstStyle>
          <a:p>
            <a:endParaRPr dirty="0"/>
          </a:p>
        </p:txBody>
      </p:sp>
      <p:sp>
        <p:nvSpPr>
          <p:cNvPr id="376" name="Google Shape;376;p31"/>
          <p:cNvSpPr txBox="1">
            <a:spLocks noGrp="1"/>
          </p:cNvSpPr>
          <p:nvPr>
            <p:ph type="body" idx="8"/>
          </p:nvPr>
        </p:nvSpPr>
        <p:spPr>
          <a:xfrm>
            <a:off x="4726508" y="4596384"/>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23" name="Google Shape;370;p31">
            <a:extLst>
              <a:ext uri="{FF2B5EF4-FFF2-40B4-BE49-F238E27FC236}">
                <a16:creationId xmlns:a16="http://schemas.microsoft.com/office/drawing/2014/main" id="{1487CB7F-B5A7-BD46-92B5-05371B90E3A6}"/>
              </a:ext>
            </a:extLst>
          </p:cNvPr>
          <p:cNvSpPr>
            <a:spLocks noGrp="1"/>
          </p:cNvSpPr>
          <p:nvPr>
            <p:ph type="pic" idx="15"/>
          </p:nvPr>
        </p:nvSpPr>
        <p:spPr>
          <a:xfrm>
            <a:off x="7778496"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7" name="Google Shape;377;p31"/>
          <p:cNvSpPr txBox="1">
            <a:spLocks noGrp="1"/>
          </p:cNvSpPr>
          <p:nvPr>
            <p:ph type="body" idx="9"/>
          </p:nvPr>
        </p:nvSpPr>
        <p:spPr>
          <a:xfrm>
            <a:off x="7979184" y="4242816"/>
            <a:ext cx="2725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rtl="0">
              <a:lnSpc>
                <a:spcPct val="100000"/>
              </a:lnSpc>
              <a:spcBef>
                <a:spcPts val="0"/>
              </a:spcBef>
              <a:spcAft>
                <a:spcPts val="0"/>
              </a:spcAft>
              <a:buSzPts val="1100"/>
              <a:buChar char="○"/>
              <a:defRPr sz="1464"/>
            </a:lvl2pPr>
            <a:lvl3pPr marL="1825943" lvl="2" indent="-397312" algn="ctr" rtl="0">
              <a:lnSpc>
                <a:spcPct val="100000"/>
              </a:lnSpc>
              <a:spcBef>
                <a:spcPts val="0"/>
              </a:spcBef>
              <a:spcAft>
                <a:spcPts val="0"/>
              </a:spcAft>
              <a:buSzPts val="1100"/>
              <a:buChar char="■"/>
              <a:defRPr sz="1464"/>
            </a:lvl3pPr>
            <a:lvl4pPr marL="2434590" lvl="3" indent="-397312" algn="ctr" rtl="0">
              <a:lnSpc>
                <a:spcPct val="100000"/>
              </a:lnSpc>
              <a:spcBef>
                <a:spcPts val="0"/>
              </a:spcBef>
              <a:spcAft>
                <a:spcPts val="0"/>
              </a:spcAft>
              <a:buSzPts val="1100"/>
              <a:buChar char="●"/>
              <a:defRPr sz="1464"/>
            </a:lvl4pPr>
            <a:lvl5pPr marL="3043238" lvl="4" indent="-397312" algn="ctr" rtl="0">
              <a:lnSpc>
                <a:spcPct val="100000"/>
              </a:lnSpc>
              <a:spcBef>
                <a:spcPts val="0"/>
              </a:spcBef>
              <a:spcAft>
                <a:spcPts val="0"/>
              </a:spcAft>
              <a:buSzPts val="1100"/>
              <a:buChar char="○"/>
              <a:defRPr sz="1464"/>
            </a:lvl5pPr>
            <a:lvl6pPr marL="3651885" lvl="5" indent="-397312" algn="ctr" rtl="0">
              <a:lnSpc>
                <a:spcPct val="100000"/>
              </a:lnSpc>
              <a:spcBef>
                <a:spcPts val="0"/>
              </a:spcBef>
              <a:spcAft>
                <a:spcPts val="0"/>
              </a:spcAft>
              <a:buSzPts val="1100"/>
              <a:buChar char="■"/>
              <a:defRPr sz="1464"/>
            </a:lvl6pPr>
            <a:lvl7pPr marL="4260533" lvl="6" indent="-397312" algn="ctr" rtl="0">
              <a:lnSpc>
                <a:spcPct val="100000"/>
              </a:lnSpc>
              <a:spcBef>
                <a:spcPts val="0"/>
              </a:spcBef>
              <a:spcAft>
                <a:spcPts val="0"/>
              </a:spcAft>
              <a:buSzPts val="1100"/>
              <a:buChar char="●"/>
              <a:defRPr sz="1464"/>
            </a:lvl7pPr>
            <a:lvl8pPr marL="4869180" lvl="7" indent="-397312" algn="ctr" rtl="0">
              <a:lnSpc>
                <a:spcPct val="100000"/>
              </a:lnSpc>
              <a:spcBef>
                <a:spcPts val="0"/>
              </a:spcBef>
              <a:spcAft>
                <a:spcPts val="0"/>
              </a:spcAft>
              <a:buSzPts val="1100"/>
              <a:buChar char="○"/>
              <a:defRPr sz="1464"/>
            </a:lvl8pPr>
            <a:lvl9pPr marL="5477828" lvl="8" indent="-397312" algn="ctr" rtl="0">
              <a:lnSpc>
                <a:spcPct val="100000"/>
              </a:lnSpc>
              <a:spcBef>
                <a:spcPts val="0"/>
              </a:spcBef>
              <a:spcAft>
                <a:spcPts val="0"/>
              </a:spcAft>
              <a:buSzPts val="1100"/>
              <a:buChar char="■"/>
              <a:defRPr sz="1464"/>
            </a:lvl9pPr>
          </a:lstStyle>
          <a:p>
            <a:endParaRPr dirty="0"/>
          </a:p>
        </p:txBody>
      </p:sp>
      <p:sp>
        <p:nvSpPr>
          <p:cNvPr id="378" name="Google Shape;378;p31"/>
          <p:cNvSpPr txBox="1">
            <a:spLocks noGrp="1"/>
          </p:cNvSpPr>
          <p:nvPr>
            <p:ph type="body" idx="13"/>
          </p:nvPr>
        </p:nvSpPr>
        <p:spPr>
          <a:xfrm>
            <a:off x="7973568" y="4584192"/>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24" name="Google Shape;268;p27">
            <a:extLst>
              <a:ext uri="{FF2B5EF4-FFF2-40B4-BE49-F238E27FC236}">
                <a16:creationId xmlns:a16="http://schemas.microsoft.com/office/drawing/2014/main" id="{F8758C0D-7D77-1D4E-AAC0-350EE46A5A68}"/>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52AAF933-73F8-CB17-CB73-55D66BC9D6A3}"/>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53845024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matchingName="Five Bars" preserve="1" userDrawn="1">
  <p:cSld name="Five Bars">
    <p:spTree>
      <p:nvGrpSpPr>
        <p:cNvPr id="1" name="Shape 379"/>
        <p:cNvGrpSpPr/>
        <p:nvPr/>
      </p:nvGrpSpPr>
      <p:grpSpPr>
        <a:xfrm>
          <a:off x="0" y="0"/>
          <a:ext cx="0" cy="0"/>
          <a:chOff x="0" y="0"/>
          <a:chExt cx="0" cy="0"/>
        </a:xfrm>
      </p:grpSpPr>
      <p:grpSp>
        <p:nvGrpSpPr>
          <p:cNvPr id="2" name="Group 1">
            <a:extLst>
              <a:ext uri="{FF2B5EF4-FFF2-40B4-BE49-F238E27FC236}">
                <a16:creationId xmlns:a16="http://schemas.microsoft.com/office/drawing/2014/main" id="{37A0049F-C128-6C1E-65AC-EACAE4F199A0}"/>
              </a:ext>
              <a:ext uri="{C183D7F6-B498-43B3-948B-1728B52AA6E4}">
                <adec:decorative xmlns:adec="http://schemas.microsoft.com/office/drawing/2017/decorative" val="1"/>
              </a:ext>
            </a:extLst>
          </p:cNvPr>
          <p:cNvGrpSpPr/>
          <p:nvPr userDrawn="1"/>
        </p:nvGrpSpPr>
        <p:grpSpPr>
          <a:xfrm>
            <a:off x="543900" y="367"/>
            <a:ext cx="12500939" cy="6376848"/>
            <a:chOff x="407925" y="275"/>
            <a:chExt cx="9375704" cy="4782636"/>
          </a:xfrm>
        </p:grpSpPr>
        <p:pic>
          <p:nvPicPr>
            <p:cNvPr id="383" name="Google Shape;383;p32">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021260" y="692404"/>
              <a:ext cx="3762369" cy="3762369"/>
            </a:xfrm>
            <a:prstGeom prst="rect">
              <a:avLst/>
            </a:prstGeom>
            <a:noFill/>
            <a:ln>
              <a:noFill/>
            </a:ln>
          </p:spPr>
        </p:pic>
        <p:sp>
          <p:nvSpPr>
            <p:cNvPr id="384" name="Google Shape;384;p32">
              <a:extLst>
                <a:ext uri="{C183D7F6-B498-43B3-948B-1728B52AA6E4}">
                  <adec:decorative xmlns:adec="http://schemas.microsoft.com/office/drawing/2017/decorative" val="1"/>
                </a:ext>
              </a:extLst>
            </p:cNvPr>
            <p:cNvSpPr/>
            <p:nvPr/>
          </p:nvSpPr>
          <p:spPr>
            <a:xfrm>
              <a:off x="3742146" y="439574"/>
              <a:ext cx="3149100" cy="501000"/>
            </a:xfrm>
            <a:prstGeom prst="roundRect">
              <a:avLst>
                <a:gd name="adj" fmla="val 50000"/>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85" name="Google Shape;385;p32">
              <a:extLst>
                <a:ext uri="{C183D7F6-B498-43B3-948B-1728B52AA6E4}">
                  <adec:decorative xmlns:adec="http://schemas.microsoft.com/office/drawing/2017/decorative" val="1"/>
                </a:ext>
              </a:extLst>
            </p:cNvPr>
            <p:cNvGrpSpPr/>
            <p:nvPr/>
          </p:nvGrpSpPr>
          <p:grpSpPr>
            <a:xfrm>
              <a:off x="3496129" y="195577"/>
              <a:ext cx="987842" cy="986358"/>
              <a:chOff x="6104965" y="2265289"/>
              <a:chExt cx="1855800" cy="1855800"/>
            </a:xfrm>
          </p:grpSpPr>
          <p:sp>
            <p:nvSpPr>
              <p:cNvPr id="386" name="Google Shape;386;p32"/>
              <p:cNvSpPr/>
              <p:nvPr/>
            </p:nvSpPr>
            <p:spPr>
              <a:xfrm>
                <a:off x="6104965" y="2265289"/>
                <a:ext cx="1855800" cy="1855800"/>
              </a:xfrm>
              <a:prstGeom prst="ellipse">
                <a:avLst/>
              </a:prstGeom>
              <a:solidFill>
                <a:srgbClr val="1F9CF0">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87" name="Google Shape;387;p32"/>
              <p:cNvSpPr/>
              <p:nvPr/>
            </p:nvSpPr>
            <p:spPr>
              <a:xfrm>
                <a:off x="6326458" y="2482124"/>
                <a:ext cx="1422000" cy="1422000"/>
              </a:xfrm>
              <a:prstGeom prst="ellipse">
                <a:avLst/>
              </a:prstGeom>
              <a:solidFill>
                <a:srgbClr val="1F9CF0">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88" name="Google Shape;388;p32"/>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89" name="Google Shape;389;p32">
              <a:extLst>
                <a:ext uri="{C183D7F6-B498-43B3-948B-1728B52AA6E4}">
                  <adec:decorative xmlns:adec="http://schemas.microsoft.com/office/drawing/2017/decorative" val="1"/>
                </a:ext>
              </a:extLst>
            </p:cNvPr>
            <p:cNvSpPr/>
            <p:nvPr/>
          </p:nvSpPr>
          <p:spPr>
            <a:xfrm>
              <a:off x="4469544" y="1304571"/>
              <a:ext cx="3149100" cy="501000"/>
            </a:xfrm>
            <a:prstGeom prst="roundRect">
              <a:avLst>
                <a:gd name="adj" fmla="val 50000"/>
              </a:avLst>
            </a:prstGeom>
            <a:solidFill>
              <a:srgbClr val="007ACC"/>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0" name="Google Shape;390;p32">
              <a:extLst>
                <a:ext uri="{C183D7F6-B498-43B3-948B-1728B52AA6E4}">
                  <adec:decorative xmlns:adec="http://schemas.microsoft.com/office/drawing/2017/decorative" val="1"/>
                </a:ext>
              </a:extLst>
            </p:cNvPr>
            <p:cNvGrpSpPr/>
            <p:nvPr/>
          </p:nvGrpSpPr>
          <p:grpSpPr>
            <a:xfrm>
              <a:off x="4223528" y="1061877"/>
              <a:ext cx="987842" cy="986358"/>
              <a:chOff x="6104965" y="2265289"/>
              <a:chExt cx="1855800" cy="1855800"/>
            </a:xfrm>
          </p:grpSpPr>
          <p:sp>
            <p:nvSpPr>
              <p:cNvPr id="391" name="Google Shape;391;p32"/>
              <p:cNvSpPr/>
              <p:nvPr/>
            </p:nvSpPr>
            <p:spPr>
              <a:xfrm>
                <a:off x="6104965" y="2265289"/>
                <a:ext cx="1855800" cy="1855800"/>
              </a:xfrm>
              <a:prstGeom prst="ellipse">
                <a:avLst/>
              </a:prstGeom>
              <a:solidFill>
                <a:srgbClr val="007ACC">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2" name="Google Shape;392;p32"/>
              <p:cNvSpPr/>
              <p:nvPr/>
            </p:nvSpPr>
            <p:spPr>
              <a:xfrm>
                <a:off x="6326458" y="2482124"/>
                <a:ext cx="1422000" cy="1422000"/>
              </a:xfrm>
              <a:prstGeom prst="ellipse">
                <a:avLst/>
              </a:prstGeom>
              <a:solidFill>
                <a:srgbClr val="007ACC">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3" name="Google Shape;393;p32"/>
              <p:cNvSpPr/>
              <p:nvPr/>
            </p:nvSpPr>
            <p:spPr>
              <a:xfrm>
                <a:off x="6566834" y="2724359"/>
                <a:ext cx="942600" cy="942600"/>
              </a:xfrm>
              <a:prstGeom prst="ellipse">
                <a:avLst/>
              </a:prstGeom>
              <a:solidFill>
                <a:srgbClr val="007ACC"/>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94" name="Google Shape;394;p32">
              <a:extLst>
                <a:ext uri="{C183D7F6-B498-43B3-948B-1728B52AA6E4}">
                  <adec:decorative xmlns:adec="http://schemas.microsoft.com/office/drawing/2017/decorative" val="1"/>
                </a:ext>
              </a:extLst>
            </p:cNvPr>
            <p:cNvSpPr/>
            <p:nvPr/>
          </p:nvSpPr>
          <p:spPr>
            <a:xfrm>
              <a:off x="4469544" y="3037169"/>
              <a:ext cx="3149100" cy="501000"/>
            </a:xfrm>
            <a:prstGeom prst="roundRect">
              <a:avLst>
                <a:gd name="adj" fmla="val 50000"/>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5" name="Google Shape;395;p32">
              <a:extLst>
                <a:ext uri="{C183D7F6-B498-43B3-948B-1728B52AA6E4}">
                  <adec:decorative xmlns:adec="http://schemas.microsoft.com/office/drawing/2017/decorative" val="1"/>
                </a:ext>
              </a:extLst>
            </p:cNvPr>
            <p:cNvGrpSpPr/>
            <p:nvPr/>
          </p:nvGrpSpPr>
          <p:grpSpPr>
            <a:xfrm>
              <a:off x="4223528" y="2794475"/>
              <a:ext cx="987842" cy="986358"/>
              <a:chOff x="6104965" y="2265289"/>
              <a:chExt cx="1855800" cy="1855800"/>
            </a:xfrm>
          </p:grpSpPr>
          <p:sp>
            <p:nvSpPr>
              <p:cNvPr id="396" name="Google Shape;396;p32"/>
              <p:cNvSpPr/>
              <p:nvPr/>
            </p:nvSpPr>
            <p:spPr>
              <a:xfrm>
                <a:off x="6104965" y="2265289"/>
                <a:ext cx="1855800" cy="1855800"/>
              </a:xfrm>
              <a:prstGeom prst="ellipse">
                <a:avLst/>
              </a:prstGeom>
              <a:solidFill>
                <a:srgbClr val="8661C5">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7" name="Google Shape;397;p32"/>
              <p:cNvSpPr/>
              <p:nvPr/>
            </p:nvSpPr>
            <p:spPr>
              <a:xfrm>
                <a:off x="6326458" y="2482124"/>
                <a:ext cx="1422000" cy="1422000"/>
              </a:xfrm>
              <a:prstGeom prst="ellipse">
                <a:avLst/>
              </a:prstGeom>
              <a:solidFill>
                <a:srgbClr val="8661C5">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8" name="Google Shape;398;p32"/>
              <p:cNvSpPr/>
              <p:nvPr/>
            </p:nvSpPr>
            <p:spPr>
              <a:xfrm>
                <a:off x="6566834" y="2724359"/>
                <a:ext cx="942600" cy="9426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99" name="Google Shape;399;p32">
              <a:extLst>
                <a:ext uri="{C183D7F6-B498-43B3-948B-1728B52AA6E4}">
                  <adec:decorative xmlns:adec="http://schemas.microsoft.com/office/drawing/2017/decorative" val="1"/>
                </a:ext>
              </a:extLst>
            </p:cNvPr>
            <p:cNvSpPr/>
            <p:nvPr/>
          </p:nvSpPr>
          <p:spPr>
            <a:xfrm>
              <a:off x="3742146" y="3903468"/>
              <a:ext cx="3149100" cy="501000"/>
            </a:xfrm>
            <a:prstGeom prst="roundRect">
              <a:avLst>
                <a:gd name="adj" fmla="val 50000"/>
              </a:avLst>
            </a:prstGeom>
            <a:solidFill>
              <a:srgbClr val="352559"/>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00" name="Google Shape;400;p32">
              <a:extLst>
                <a:ext uri="{C183D7F6-B498-43B3-948B-1728B52AA6E4}">
                  <adec:decorative xmlns:adec="http://schemas.microsoft.com/office/drawing/2017/decorative" val="1"/>
                </a:ext>
              </a:extLst>
            </p:cNvPr>
            <p:cNvGrpSpPr/>
            <p:nvPr/>
          </p:nvGrpSpPr>
          <p:grpSpPr>
            <a:xfrm>
              <a:off x="3496129" y="3660774"/>
              <a:ext cx="987842" cy="986358"/>
              <a:chOff x="6104965" y="2265289"/>
              <a:chExt cx="1855800" cy="1855800"/>
            </a:xfrm>
          </p:grpSpPr>
          <p:sp>
            <p:nvSpPr>
              <p:cNvPr id="401" name="Google Shape;401;p32"/>
              <p:cNvSpPr/>
              <p:nvPr/>
            </p:nvSpPr>
            <p:spPr>
              <a:xfrm>
                <a:off x="6104965" y="2265289"/>
                <a:ext cx="1855800" cy="1855800"/>
              </a:xfrm>
              <a:prstGeom prst="ellipse">
                <a:avLst/>
              </a:prstGeom>
              <a:solidFill>
                <a:srgbClr val="352559">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2" name="Google Shape;402;p32"/>
              <p:cNvSpPr/>
              <p:nvPr/>
            </p:nvSpPr>
            <p:spPr>
              <a:xfrm>
                <a:off x="6326458" y="2482124"/>
                <a:ext cx="1422000" cy="1422000"/>
              </a:xfrm>
              <a:prstGeom prst="ellipse">
                <a:avLst/>
              </a:prstGeom>
              <a:solidFill>
                <a:srgbClr val="352559">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3" name="Google Shape;403;p32"/>
              <p:cNvSpPr/>
              <p:nvPr/>
            </p:nvSpPr>
            <p:spPr>
              <a:xfrm>
                <a:off x="6566834" y="2724359"/>
                <a:ext cx="942600" cy="942600"/>
              </a:xfrm>
              <a:prstGeom prst="ellipse">
                <a:avLst/>
              </a:prstGeom>
              <a:solidFill>
                <a:srgbClr val="352559"/>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404" name="Google Shape;404;p32">
              <a:extLst>
                <a:ext uri="{C183D7F6-B498-43B3-948B-1728B52AA6E4}">
                  <adec:decorative xmlns:adec="http://schemas.microsoft.com/office/drawing/2017/decorative" val="1"/>
                </a:ext>
              </a:extLst>
            </p:cNvPr>
            <p:cNvSpPr/>
            <p:nvPr/>
          </p:nvSpPr>
          <p:spPr>
            <a:xfrm>
              <a:off x="5198187" y="2170870"/>
              <a:ext cx="3149100" cy="501000"/>
            </a:xfrm>
            <a:prstGeom prst="roundRect">
              <a:avLst>
                <a:gd name="adj" fmla="val 50000"/>
              </a:avLst>
            </a:prstGeom>
            <a:solidFill>
              <a:srgbClr val="28AFEA"/>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05" name="Google Shape;405;p32">
              <a:extLst>
                <a:ext uri="{C183D7F6-B498-43B3-948B-1728B52AA6E4}">
                  <adec:decorative xmlns:adec="http://schemas.microsoft.com/office/drawing/2017/decorative" val="1"/>
                </a:ext>
              </a:extLst>
            </p:cNvPr>
            <p:cNvGrpSpPr/>
            <p:nvPr/>
          </p:nvGrpSpPr>
          <p:grpSpPr>
            <a:xfrm>
              <a:off x="4952171" y="1928176"/>
              <a:ext cx="987842" cy="986358"/>
              <a:chOff x="6104965" y="2265289"/>
              <a:chExt cx="1855800" cy="1855800"/>
            </a:xfrm>
          </p:grpSpPr>
          <p:sp>
            <p:nvSpPr>
              <p:cNvPr id="406" name="Google Shape;406;p32"/>
              <p:cNvSpPr/>
              <p:nvPr/>
            </p:nvSpPr>
            <p:spPr>
              <a:xfrm>
                <a:off x="6104965" y="2265289"/>
                <a:ext cx="1855800" cy="1855800"/>
              </a:xfrm>
              <a:prstGeom prst="ellipse">
                <a:avLst/>
              </a:prstGeom>
              <a:solidFill>
                <a:srgbClr val="28AFEA">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7" name="Google Shape;407;p32"/>
              <p:cNvSpPr/>
              <p:nvPr/>
            </p:nvSpPr>
            <p:spPr>
              <a:xfrm>
                <a:off x="6326458" y="2482124"/>
                <a:ext cx="1422000" cy="1422000"/>
              </a:xfrm>
              <a:prstGeom prst="ellipse">
                <a:avLst/>
              </a:prstGeom>
              <a:solidFill>
                <a:srgbClr val="28AFEA">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8" name="Google Shape;408;p32"/>
              <p:cNvSpPr/>
              <p:nvPr/>
            </p:nvSpPr>
            <p:spPr>
              <a:xfrm>
                <a:off x="6566834" y="2724359"/>
                <a:ext cx="942600" cy="942600"/>
              </a:xfrm>
              <a:prstGeom prst="ellipse">
                <a:avLst/>
              </a:prstGeom>
              <a:solidFill>
                <a:srgbClr val="28AFEA"/>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409" name="Google Shape;409;p32">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410" name="Google Shape;410;p32">
              <a:extLst>
                <a:ext uri="{C183D7F6-B498-43B3-948B-1728B52AA6E4}">
                  <adec:decorative xmlns:adec="http://schemas.microsoft.com/office/drawing/2017/decorative" val="1"/>
                </a:ext>
              </a:extLst>
            </p:cNvPr>
            <p:cNvSpPr/>
            <p:nvPr/>
          </p:nvSpPr>
          <p:spPr>
            <a:xfrm rot="10800000">
              <a:off x="407925" y="275"/>
              <a:ext cx="73200" cy="29958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50" name="Google Shape;67;p15">
              <a:extLst>
                <a:ext uri="{FF2B5EF4-FFF2-40B4-BE49-F238E27FC236}">
                  <a16:creationId xmlns:a16="http://schemas.microsoft.com/office/drawing/2014/main" id="{CD4C19BC-5DEC-DE48-9ACE-675D5E9CFD83}"/>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422" name="Google Shape;422;p32"/>
          <p:cNvSpPr txBox="1">
            <a:spLocks noGrp="1"/>
          </p:cNvSpPr>
          <p:nvPr>
            <p:ph type="title"/>
          </p:nvPr>
        </p:nvSpPr>
        <p:spPr>
          <a:xfrm>
            <a:off x="1060704" y="1243584"/>
            <a:ext cx="3108800" cy="2828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6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dirty="0"/>
          </a:p>
        </p:txBody>
      </p:sp>
      <p:sp>
        <p:nvSpPr>
          <p:cNvPr id="421" name="Google Shape;421;p32"/>
          <p:cNvSpPr txBox="1">
            <a:spLocks noGrp="1"/>
          </p:cNvSpPr>
          <p:nvPr>
            <p:ph type="subTitle" idx="14"/>
          </p:nvPr>
        </p:nvSpPr>
        <p:spPr>
          <a:xfrm>
            <a:off x="1072896" y="731520"/>
            <a:ext cx="2804000" cy="207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2" name="Google Shape;529;p35">
            <a:extLst>
              <a:ext uri="{FF2B5EF4-FFF2-40B4-BE49-F238E27FC236}">
                <a16:creationId xmlns:a16="http://schemas.microsoft.com/office/drawing/2014/main" id="{CD3576E2-AEB5-FF3E-CC5F-467FF2EE89AD}"/>
              </a:ext>
            </a:extLst>
          </p:cNvPr>
          <p:cNvSpPr>
            <a:spLocks noGrp="1"/>
          </p:cNvSpPr>
          <p:nvPr>
            <p:ph type="pic" idx="3"/>
          </p:nvPr>
        </p:nvSpPr>
        <p:spPr>
          <a:xfrm>
            <a:off x="5100667" y="698941"/>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6" name="Google Shape;416;p32"/>
          <p:cNvSpPr txBox="1">
            <a:spLocks noGrp="1"/>
          </p:cNvSpPr>
          <p:nvPr>
            <p:ph type="body" idx="1"/>
          </p:nvPr>
        </p:nvSpPr>
        <p:spPr>
          <a:xfrm>
            <a:off x="5978634" y="682752"/>
            <a:ext cx="2950400" cy="463200"/>
          </a:xfrm>
          <a:prstGeom prst="rect">
            <a:avLst/>
          </a:prstGeom>
        </p:spPr>
        <p:txBody>
          <a:bodyPr spcFirstLastPara="1" wrap="square" lIns="45700" tIns="18275" rIns="45700" bIns="18275" anchor="ctr" anchorCtr="0">
            <a:noAutofit/>
          </a:bodyPr>
          <a:lstStyle>
            <a:lvl1pPr marL="0" lvl="0" indent="0">
              <a:spcBef>
                <a:spcPts val="0"/>
              </a:spcBef>
              <a:spcAft>
                <a:spcPts val="0"/>
              </a:spcAft>
              <a:buSzPts val="800"/>
              <a:buNone/>
              <a:defRPr sz="1065"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53" name="Google Shape;529;p35">
            <a:extLst>
              <a:ext uri="{FF2B5EF4-FFF2-40B4-BE49-F238E27FC236}">
                <a16:creationId xmlns:a16="http://schemas.microsoft.com/office/drawing/2014/main" id="{A5F644A9-640E-49D4-9BA3-19831FCDEAB1}"/>
              </a:ext>
            </a:extLst>
          </p:cNvPr>
          <p:cNvSpPr>
            <a:spLocks noGrp="1"/>
          </p:cNvSpPr>
          <p:nvPr>
            <p:ph type="pic" idx="19"/>
          </p:nvPr>
        </p:nvSpPr>
        <p:spPr>
          <a:xfrm>
            <a:off x="6070532" y="1854008"/>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7" name="Google Shape;417;p32"/>
          <p:cNvSpPr txBox="1">
            <a:spLocks noGrp="1"/>
          </p:cNvSpPr>
          <p:nvPr>
            <p:ph type="body" idx="7"/>
          </p:nvPr>
        </p:nvSpPr>
        <p:spPr>
          <a:xfrm>
            <a:off x="6986016" y="182880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4" name="Google Shape;529;p35">
            <a:extLst>
              <a:ext uri="{FF2B5EF4-FFF2-40B4-BE49-F238E27FC236}">
                <a16:creationId xmlns:a16="http://schemas.microsoft.com/office/drawing/2014/main" id="{FBB95042-817E-B134-256C-4FB5A90FF06A}"/>
              </a:ext>
            </a:extLst>
          </p:cNvPr>
          <p:cNvSpPr>
            <a:spLocks noGrp="1"/>
          </p:cNvSpPr>
          <p:nvPr>
            <p:ph type="pic" idx="20"/>
          </p:nvPr>
        </p:nvSpPr>
        <p:spPr>
          <a:xfrm>
            <a:off x="7042056" y="3009073"/>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8" name="Google Shape;418;p32"/>
          <p:cNvSpPr txBox="1">
            <a:spLocks noGrp="1"/>
          </p:cNvSpPr>
          <p:nvPr>
            <p:ph type="body" idx="8"/>
          </p:nvPr>
        </p:nvSpPr>
        <p:spPr>
          <a:xfrm>
            <a:off x="7936992" y="2974848"/>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5" name="Google Shape;529;p35">
            <a:extLst>
              <a:ext uri="{FF2B5EF4-FFF2-40B4-BE49-F238E27FC236}">
                <a16:creationId xmlns:a16="http://schemas.microsoft.com/office/drawing/2014/main" id="{BEE85CE0-3794-8891-A799-BBC3CBBC2483}"/>
              </a:ext>
            </a:extLst>
          </p:cNvPr>
          <p:cNvSpPr>
            <a:spLocks noGrp="1"/>
          </p:cNvSpPr>
          <p:nvPr>
            <p:ph type="pic" idx="21"/>
          </p:nvPr>
        </p:nvSpPr>
        <p:spPr>
          <a:xfrm>
            <a:off x="6070532" y="4164139"/>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9" name="Google Shape;419;p32"/>
          <p:cNvSpPr txBox="1">
            <a:spLocks noGrp="1"/>
          </p:cNvSpPr>
          <p:nvPr>
            <p:ph type="body" idx="9"/>
          </p:nvPr>
        </p:nvSpPr>
        <p:spPr>
          <a:xfrm>
            <a:off x="6986016" y="414528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6" name="Google Shape;529;p35">
            <a:extLst>
              <a:ext uri="{FF2B5EF4-FFF2-40B4-BE49-F238E27FC236}">
                <a16:creationId xmlns:a16="http://schemas.microsoft.com/office/drawing/2014/main" id="{A65B01E9-D9F8-328D-5B1B-78BC9275ED6D}"/>
              </a:ext>
            </a:extLst>
          </p:cNvPr>
          <p:cNvSpPr>
            <a:spLocks noGrp="1"/>
          </p:cNvSpPr>
          <p:nvPr>
            <p:ph type="pic" idx="22"/>
          </p:nvPr>
        </p:nvSpPr>
        <p:spPr>
          <a:xfrm>
            <a:off x="5100667" y="5319204"/>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20" name="Google Shape;420;p32"/>
          <p:cNvSpPr txBox="1">
            <a:spLocks noGrp="1"/>
          </p:cNvSpPr>
          <p:nvPr>
            <p:ph type="body" idx="13"/>
          </p:nvPr>
        </p:nvSpPr>
        <p:spPr>
          <a:xfrm>
            <a:off x="5974081" y="530352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9" name="Google Shape;268;p27">
            <a:extLst>
              <a:ext uri="{FF2B5EF4-FFF2-40B4-BE49-F238E27FC236}">
                <a16:creationId xmlns:a16="http://schemas.microsoft.com/office/drawing/2014/main" id="{B3792982-19EA-CA41-8308-2AD5F0D23189}"/>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38944245-D44B-F65F-6B6D-4F2688869F9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18289134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Timeline" preserve="1">
  <p:cSld name="Timeline">
    <p:spTree>
      <p:nvGrpSpPr>
        <p:cNvPr id="1" name="Shape 423"/>
        <p:cNvGrpSpPr/>
        <p:nvPr/>
      </p:nvGrpSpPr>
      <p:grpSpPr>
        <a:xfrm>
          <a:off x="0" y="0"/>
          <a:ext cx="0" cy="0"/>
          <a:chOff x="0" y="0"/>
          <a:chExt cx="0" cy="0"/>
        </a:xfrm>
      </p:grpSpPr>
      <p:grpSp>
        <p:nvGrpSpPr>
          <p:cNvPr id="2" name="Group 1">
            <a:extLst>
              <a:ext uri="{FF2B5EF4-FFF2-40B4-BE49-F238E27FC236}">
                <a16:creationId xmlns:a16="http://schemas.microsoft.com/office/drawing/2014/main" id="{AE88BE8E-7A9E-0109-4B50-E85B7DB08F4E}"/>
              </a:ext>
              <a:ext uri="{C183D7F6-B498-43B3-948B-1728B52AA6E4}">
                <adec:decorative xmlns:adec="http://schemas.microsoft.com/office/drawing/2017/decorative" val="1"/>
              </a:ext>
            </a:extLst>
          </p:cNvPr>
          <p:cNvGrpSpPr/>
          <p:nvPr userDrawn="1"/>
        </p:nvGrpSpPr>
        <p:grpSpPr>
          <a:xfrm>
            <a:off x="494068" y="5"/>
            <a:ext cx="11697940" cy="6857996"/>
            <a:chOff x="370550" y="3"/>
            <a:chExt cx="8773455" cy="5143497"/>
          </a:xfrm>
        </p:grpSpPr>
        <p:pic>
          <p:nvPicPr>
            <p:cNvPr id="427" name="Google Shape;427;p33">
              <a:extLst>
                <a:ext uri="{C183D7F6-B498-43B3-948B-1728B52AA6E4}">
                  <adec:decorative xmlns:adec="http://schemas.microsoft.com/office/drawing/2017/decorative" val="1"/>
                </a:ext>
              </a:extLst>
            </p:cNvPr>
            <p:cNvPicPr preferRelativeResize="0"/>
            <p:nvPr userDrawn="1"/>
          </p:nvPicPr>
          <p:blipFill rotWithShape="1">
            <a:blip r:embed="rId2">
              <a:alphaModFix amt="40000"/>
            </a:blip>
            <a:srcRect r="33453" b="13524"/>
            <a:stretch/>
          </p:blipFill>
          <p:spPr>
            <a:xfrm>
              <a:off x="4878193" y="3"/>
              <a:ext cx="4265812" cy="5143497"/>
            </a:xfrm>
            <a:prstGeom prst="rect">
              <a:avLst/>
            </a:prstGeom>
            <a:noFill/>
            <a:ln>
              <a:noFill/>
            </a:ln>
          </p:spPr>
        </p:pic>
        <p:cxnSp>
          <p:nvCxnSpPr>
            <p:cNvPr id="428" name="Google Shape;428;p33">
              <a:extLst>
                <a:ext uri="{C183D7F6-B498-43B3-948B-1728B52AA6E4}">
                  <adec:decorative xmlns:adec="http://schemas.microsoft.com/office/drawing/2017/decorative" val="1"/>
                </a:ext>
              </a:extLst>
            </p:cNvPr>
            <p:cNvCxnSpPr/>
            <p:nvPr/>
          </p:nvCxnSpPr>
          <p:spPr>
            <a:xfrm>
              <a:off x="1303867" y="3583747"/>
              <a:ext cx="6536400" cy="0"/>
            </a:xfrm>
            <a:prstGeom prst="straightConnector1">
              <a:avLst/>
            </a:prstGeom>
            <a:noFill/>
            <a:ln w="88900" cap="rnd" cmpd="sng">
              <a:solidFill>
                <a:srgbClr val="D8D8D8">
                  <a:alpha val="24710"/>
                </a:srgbClr>
              </a:solidFill>
              <a:prstDash val="solid"/>
              <a:round/>
              <a:headEnd type="none" w="sm" len="sm"/>
              <a:tailEnd type="none" w="sm" len="sm"/>
            </a:ln>
          </p:spPr>
        </p:cxnSp>
        <p:grpSp>
          <p:nvGrpSpPr>
            <p:cNvPr id="429" name="Google Shape;429;p33">
              <a:extLst>
                <a:ext uri="{C183D7F6-B498-43B3-948B-1728B52AA6E4}">
                  <adec:decorative xmlns:adec="http://schemas.microsoft.com/office/drawing/2017/decorative" val="1"/>
                </a:ext>
              </a:extLst>
            </p:cNvPr>
            <p:cNvGrpSpPr/>
            <p:nvPr/>
          </p:nvGrpSpPr>
          <p:grpSpPr>
            <a:xfrm flipH="1">
              <a:off x="1526314" y="2447680"/>
              <a:ext cx="1811316" cy="863864"/>
              <a:chOff x="1851659" y="5043862"/>
              <a:chExt cx="4393200" cy="2356422"/>
            </a:xfrm>
          </p:grpSpPr>
          <p:sp>
            <p:nvSpPr>
              <p:cNvPr id="430" name="Google Shape;430;p33"/>
              <p:cNvSpPr/>
              <p:nvPr/>
            </p:nvSpPr>
            <p:spPr>
              <a:xfrm flipH="1">
                <a:off x="1851659" y="5043862"/>
                <a:ext cx="4393200" cy="2109000"/>
              </a:xfrm>
              <a:prstGeom prst="roundRect">
                <a:avLst>
                  <a:gd name="adj" fmla="val 3087"/>
                </a:avLst>
              </a:prstGeom>
              <a:gradFill>
                <a:gsLst>
                  <a:gs pos="0">
                    <a:srgbClr val="1F9CF0"/>
                  </a:gs>
                  <a:gs pos="2000">
                    <a:srgbClr val="1F9CF0"/>
                  </a:gs>
                  <a:gs pos="100000">
                    <a:srgbClr val="9477E2">
                      <a:alpha val="29803"/>
                    </a:srgbClr>
                  </a:gs>
                </a:gsLst>
                <a:lin ang="2700006" scaled="0"/>
              </a:gradFill>
              <a:ln>
                <a:noFill/>
              </a:ln>
              <a:effectLst>
                <a:outerShdw blurRad="1270000" dist="1219200" dir="81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1" name="Google Shape;431;p33"/>
              <p:cNvSpPr/>
              <p:nvPr/>
            </p:nvSpPr>
            <p:spPr>
              <a:xfrm rot="10800000">
                <a:off x="3863414" y="7153684"/>
                <a:ext cx="369600" cy="246600"/>
              </a:xfrm>
              <a:prstGeom prst="triangle">
                <a:avLst>
                  <a:gd name="adj" fmla="val 50000"/>
                </a:avLst>
              </a:prstGeom>
              <a:gradFill>
                <a:gsLst>
                  <a:gs pos="0">
                    <a:srgbClr val="1F9CF0"/>
                  </a:gs>
                  <a:gs pos="2000">
                    <a:srgbClr val="1F9CF0"/>
                  </a:gs>
                  <a:gs pos="100000">
                    <a:srgbClr val="9477E2">
                      <a:alpha val="2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2" name="Google Shape;432;p33">
              <a:extLst>
                <a:ext uri="{C183D7F6-B498-43B3-948B-1728B52AA6E4}">
                  <adec:decorative xmlns:adec="http://schemas.microsoft.com/office/drawing/2017/decorative" val="1"/>
                </a:ext>
              </a:extLst>
            </p:cNvPr>
            <p:cNvGrpSpPr/>
            <p:nvPr/>
          </p:nvGrpSpPr>
          <p:grpSpPr>
            <a:xfrm>
              <a:off x="1290477" y="3525882"/>
              <a:ext cx="116624" cy="116450"/>
              <a:chOff x="2991668" y="6807571"/>
              <a:chExt cx="248400" cy="248400"/>
            </a:xfrm>
          </p:grpSpPr>
          <p:sp>
            <p:nvSpPr>
              <p:cNvPr id="433" name="Google Shape;433;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4" name="Google Shape;434;p33"/>
              <p:cNvSpPr/>
              <p:nvPr/>
            </p:nvSpPr>
            <p:spPr>
              <a:xfrm>
                <a:off x="3049014" y="6864917"/>
                <a:ext cx="133800" cy="133800"/>
              </a:xfrm>
              <a:prstGeom prst="ellipse">
                <a:avLst/>
              </a:prstGeom>
              <a:gradFill>
                <a:gsLst>
                  <a:gs pos="0">
                    <a:schemeClr val="accent2"/>
                  </a:gs>
                  <a:gs pos="2000">
                    <a:schemeClr val="accent2"/>
                  </a:gs>
                  <a:gs pos="100000">
                    <a:srgbClr val="5C2FD2"/>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5" name="Google Shape;435;p33">
              <a:extLst>
                <a:ext uri="{C183D7F6-B498-43B3-948B-1728B52AA6E4}">
                  <adec:decorative xmlns:adec="http://schemas.microsoft.com/office/drawing/2017/decorative" val="1"/>
                </a:ext>
              </a:extLst>
            </p:cNvPr>
            <p:cNvGrpSpPr/>
            <p:nvPr/>
          </p:nvGrpSpPr>
          <p:grpSpPr>
            <a:xfrm>
              <a:off x="2373885" y="3525882"/>
              <a:ext cx="116624" cy="116450"/>
              <a:chOff x="2991668" y="6807571"/>
              <a:chExt cx="248400" cy="248400"/>
            </a:xfrm>
          </p:grpSpPr>
          <p:sp>
            <p:nvSpPr>
              <p:cNvPr id="436" name="Google Shape;436;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7" name="Google Shape;437;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2">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8" name="Google Shape;438;p33">
              <a:extLst>
                <a:ext uri="{C183D7F6-B498-43B3-948B-1728B52AA6E4}">
                  <adec:decorative xmlns:adec="http://schemas.microsoft.com/office/drawing/2017/decorative" val="1"/>
                </a:ext>
              </a:extLst>
            </p:cNvPr>
            <p:cNvGrpSpPr/>
            <p:nvPr/>
          </p:nvGrpSpPr>
          <p:grpSpPr>
            <a:xfrm>
              <a:off x="3443832" y="3525882"/>
              <a:ext cx="116624" cy="116450"/>
              <a:chOff x="2991668" y="6807571"/>
              <a:chExt cx="248400" cy="248400"/>
            </a:xfrm>
          </p:grpSpPr>
          <p:sp>
            <p:nvSpPr>
              <p:cNvPr id="439" name="Google Shape;439;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0" name="Google Shape;440;p33"/>
              <p:cNvSpPr/>
              <p:nvPr/>
            </p:nvSpPr>
            <p:spPr>
              <a:xfrm>
                <a:off x="3049014" y="6864917"/>
                <a:ext cx="133800" cy="133800"/>
              </a:xfrm>
              <a:prstGeom prst="ellipse">
                <a:avLst/>
              </a:prstGeom>
              <a:gradFill>
                <a:gsLst>
                  <a:gs pos="0">
                    <a:schemeClr val="accent3"/>
                  </a:gs>
                  <a:gs pos="2000">
                    <a:schemeClr val="accent3"/>
                  </a:gs>
                  <a:gs pos="100000">
                    <a:srgbClr val="4F2995"/>
                  </a:gs>
                </a:gsLst>
                <a:path path="circle">
                  <a:fillToRect l="50000" t="50000" r="50000" b="50000"/>
                </a:path>
                <a:tileRect/>
              </a:gradFill>
              <a:ln>
                <a:noFill/>
              </a:ln>
              <a:effectLst>
                <a:outerShdw blurRad="1270000" algn="ctr" rotWithShape="0">
                  <a:schemeClr val="accent3">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1" name="Google Shape;441;p33">
              <a:extLst>
                <a:ext uri="{C183D7F6-B498-43B3-948B-1728B52AA6E4}">
                  <adec:decorative xmlns:adec="http://schemas.microsoft.com/office/drawing/2017/decorative" val="1"/>
                </a:ext>
              </a:extLst>
            </p:cNvPr>
            <p:cNvGrpSpPr/>
            <p:nvPr/>
          </p:nvGrpSpPr>
          <p:grpSpPr>
            <a:xfrm>
              <a:off x="4513778" y="3525882"/>
              <a:ext cx="116624" cy="116450"/>
              <a:chOff x="2991668" y="6807571"/>
              <a:chExt cx="248400" cy="248400"/>
            </a:xfrm>
          </p:grpSpPr>
          <p:sp>
            <p:nvSpPr>
              <p:cNvPr id="442" name="Google Shape;442;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3" name="Google Shape;443;p33"/>
              <p:cNvSpPr/>
              <p:nvPr/>
            </p:nvSpPr>
            <p:spPr>
              <a:xfrm>
                <a:off x="3049014" y="6864917"/>
                <a:ext cx="133800" cy="133800"/>
              </a:xfrm>
              <a:prstGeom prst="ellipse">
                <a:avLst/>
              </a:prstGeom>
              <a:gradFill>
                <a:gsLst>
                  <a:gs pos="0">
                    <a:schemeClr val="accent4"/>
                  </a:gs>
                  <a:gs pos="2000">
                    <a:schemeClr val="accent4"/>
                  </a:gs>
                  <a:gs pos="100000">
                    <a:srgbClr val="0F98B3"/>
                  </a:gs>
                </a:gsLst>
                <a:path path="circle">
                  <a:fillToRect l="50000" t="50000" r="50000" b="50000"/>
                </a:path>
                <a:tileRect/>
              </a:gradFill>
              <a:ln>
                <a:noFill/>
              </a:ln>
              <a:effectLst>
                <a:outerShdw blurRad="1270000" algn="ctr" rotWithShape="0">
                  <a:schemeClr val="accent4">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4" name="Google Shape;444;p33">
              <a:extLst>
                <a:ext uri="{C183D7F6-B498-43B3-948B-1728B52AA6E4}">
                  <adec:decorative xmlns:adec="http://schemas.microsoft.com/office/drawing/2017/decorative" val="1"/>
                </a:ext>
              </a:extLst>
            </p:cNvPr>
            <p:cNvGrpSpPr/>
            <p:nvPr/>
          </p:nvGrpSpPr>
          <p:grpSpPr>
            <a:xfrm>
              <a:off x="5583725" y="3525882"/>
              <a:ext cx="116624" cy="116450"/>
              <a:chOff x="2991668" y="6807571"/>
              <a:chExt cx="248400" cy="248400"/>
            </a:xfrm>
          </p:grpSpPr>
          <p:sp>
            <p:nvSpPr>
              <p:cNvPr id="445" name="Google Shape;445;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6" name="Google Shape;446;p33"/>
              <p:cNvSpPr/>
              <p:nvPr/>
            </p:nvSpPr>
            <p:spPr>
              <a:xfrm>
                <a:off x="3049014" y="6864917"/>
                <a:ext cx="133800" cy="133800"/>
              </a:xfrm>
              <a:prstGeom prst="ellipse">
                <a:avLst/>
              </a:prstGeom>
              <a:gradFill>
                <a:gsLst>
                  <a:gs pos="0">
                    <a:schemeClr val="accent5"/>
                  </a:gs>
                  <a:gs pos="2000">
                    <a:schemeClr val="accent5"/>
                  </a:gs>
                  <a:gs pos="100000">
                    <a:srgbClr val="66196E"/>
                  </a:gs>
                </a:gsLst>
                <a:path path="circle">
                  <a:fillToRect l="50000" t="50000" r="50000" b="50000"/>
                </a:path>
                <a:tileRect/>
              </a:gradFill>
              <a:ln>
                <a:noFill/>
              </a:ln>
              <a:effectLst>
                <a:outerShdw blurRad="1270000" algn="ctr" rotWithShape="0">
                  <a:schemeClr val="accent5">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7" name="Google Shape;447;p33">
              <a:extLst>
                <a:ext uri="{C183D7F6-B498-43B3-948B-1728B52AA6E4}">
                  <adec:decorative xmlns:adec="http://schemas.microsoft.com/office/drawing/2017/decorative" val="1"/>
                </a:ext>
              </a:extLst>
            </p:cNvPr>
            <p:cNvGrpSpPr/>
            <p:nvPr/>
          </p:nvGrpSpPr>
          <p:grpSpPr>
            <a:xfrm>
              <a:off x="6653671" y="3525882"/>
              <a:ext cx="116624" cy="116450"/>
              <a:chOff x="2991668" y="6807571"/>
              <a:chExt cx="248400" cy="248400"/>
            </a:xfrm>
          </p:grpSpPr>
          <p:sp>
            <p:nvSpPr>
              <p:cNvPr id="448" name="Google Shape;448;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9" name="Google Shape;449;p33"/>
              <p:cNvSpPr/>
              <p:nvPr/>
            </p:nvSpPr>
            <p:spPr>
              <a:xfrm>
                <a:off x="3049014" y="6864917"/>
                <a:ext cx="133800" cy="133800"/>
              </a:xfrm>
              <a:prstGeom prst="ellipse">
                <a:avLst/>
              </a:prstGeom>
              <a:gradFill>
                <a:gsLst>
                  <a:gs pos="0">
                    <a:schemeClr val="accent6"/>
                  </a:gs>
                  <a:gs pos="2000">
                    <a:schemeClr val="accent6"/>
                  </a:gs>
                  <a:gs pos="100000">
                    <a:srgbClr val="980B84"/>
                  </a:gs>
                </a:gsLst>
                <a:path path="circle">
                  <a:fillToRect l="50000" t="50000" r="50000" b="50000"/>
                </a:path>
                <a:tileRect/>
              </a:gradFill>
              <a:ln>
                <a:noFill/>
              </a:ln>
              <a:effectLst>
                <a:outerShdw blurRad="1270000" algn="ctr" rotWithShape="0">
                  <a:schemeClr val="accent6">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50" name="Google Shape;450;p33">
              <a:extLst>
                <a:ext uri="{C183D7F6-B498-43B3-948B-1728B52AA6E4}">
                  <adec:decorative xmlns:adec="http://schemas.microsoft.com/office/drawing/2017/decorative" val="1"/>
                </a:ext>
              </a:extLst>
            </p:cNvPr>
            <p:cNvGrpSpPr/>
            <p:nvPr/>
          </p:nvGrpSpPr>
          <p:grpSpPr>
            <a:xfrm>
              <a:off x="7737080" y="3525882"/>
              <a:ext cx="116624" cy="116450"/>
              <a:chOff x="2991668" y="6807571"/>
              <a:chExt cx="248400" cy="248400"/>
            </a:xfrm>
          </p:grpSpPr>
          <p:sp>
            <p:nvSpPr>
              <p:cNvPr id="451" name="Google Shape;451;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52" name="Google Shape;452;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453" name="Google Shape;453;p33">
              <a:extLst>
                <a:ext uri="{C183D7F6-B498-43B3-948B-1728B52AA6E4}">
                  <adec:decorative xmlns:adec="http://schemas.microsoft.com/office/drawing/2017/decorative" val="1"/>
                </a:ext>
              </a:extLst>
            </p:cNvPr>
            <p:cNvCxnSpPr/>
            <p:nvPr/>
          </p:nvCxnSpPr>
          <p:spPr>
            <a:xfrm>
              <a:off x="783205"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454" name="Google Shape;454;p33">
              <a:extLst>
                <a:ext uri="{C183D7F6-B498-43B3-948B-1728B52AA6E4}">
                  <adec:decorative xmlns:adec="http://schemas.microsoft.com/office/drawing/2017/decorative" val="1"/>
                </a:ext>
              </a:extLst>
            </p:cNvPr>
            <p:cNvSpPr/>
            <p:nvPr/>
          </p:nvSpPr>
          <p:spPr>
            <a:xfrm rot="10800000">
              <a:off x="370550" y="175"/>
              <a:ext cx="75000" cy="17340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52" name="Google Shape;67;p15">
              <a:extLst>
                <a:ext uri="{FF2B5EF4-FFF2-40B4-BE49-F238E27FC236}">
                  <a16:creationId xmlns:a16="http://schemas.microsoft.com/office/drawing/2014/main" id="{1D16FF24-B0F8-B641-AD66-E286C3F257F6}"/>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456" name="Google Shape;456;p33"/>
          <p:cNvSpPr txBox="1">
            <a:spLocks noGrp="1"/>
          </p:cNvSpPr>
          <p:nvPr>
            <p:ph type="title"/>
          </p:nvPr>
        </p:nvSpPr>
        <p:spPr>
          <a:xfrm>
            <a:off x="987552" y="112166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solidFill>
                  <a:schemeClr val="bg1"/>
                </a:solidFill>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55" name="Google Shape;455;p33"/>
          <p:cNvSpPr txBox="1">
            <a:spLocks noGrp="1"/>
          </p:cNvSpPr>
          <p:nvPr>
            <p:ph type="subTitle" idx="1"/>
          </p:nvPr>
        </p:nvSpPr>
        <p:spPr>
          <a:xfrm>
            <a:off x="999744" y="573024"/>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457" name="Google Shape;457;p33"/>
          <p:cNvSpPr txBox="1">
            <a:spLocks noGrp="1"/>
          </p:cNvSpPr>
          <p:nvPr>
            <p:ph type="body" idx="2"/>
          </p:nvPr>
        </p:nvSpPr>
        <p:spPr>
          <a:xfrm>
            <a:off x="5364352" y="1121664"/>
            <a:ext cx="3901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458" name="Google Shape;458;p33"/>
          <p:cNvSpPr txBox="1">
            <a:spLocks noGrp="1"/>
          </p:cNvSpPr>
          <p:nvPr>
            <p:ph type="body" idx="3"/>
          </p:nvPr>
        </p:nvSpPr>
        <p:spPr>
          <a:xfrm>
            <a:off x="2426208" y="3352800"/>
            <a:ext cx="1633600" cy="195200"/>
          </a:xfrm>
          <a:prstGeom prst="rect">
            <a:avLst/>
          </a:prstGeom>
        </p:spPr>
        <p:txBody>
          <a:bodyPr spcFirstLastPara="1" wrap="square" lIns="45700" tIns="18275" rIns="45700" bIns="18275" anchor="t" anchorCtr="0">
            <a:noAutofit/>
          </a:bodyPr>
          <a:lstStyle>
            <a:lvl1pPr marL="1691" lvl="0" indent="0" algn="ctr">
              <a:lnSpc>
                <a:spcPct val="100000"/>
              </a:lnSpc>
              <a:spcBef>
                <a:spcPts val="0"/>
              </a:spcBef>
              <a:spcAft>
                <a:spcPts val="0"/>
              </a:spcAft>
              <a:buSzPts val="700"/>
              <a:buNone/>
              <a:defRPr sz="799" b="0" i="0">
                <a:latin typeface="Helvetica" pitchFamily="2" charset="0"/>
              </a:defRPr>
            </a:lvl1pPr>
            <a:lvl2pPr marL="1217295" lvl="1" indent="-363498" algn="ctr">
              <a:spcBef>
                <a:spcPts val="0"/>
              </a:spcBef>
              <a:spcAft>
                <a:spcPts val="0"/>
              </a:spcAft>
              <a:buSzPts val="700"/>
              <a:buChar char="○"/>
              <a:defRPr sz="932"/>
            </a:lvl2pPr>
            <a:lvl3pPr marL="1825943" lvl="2" indent="-363498" algn="ctr">
              <a:spcBef>
                <a:spcPts val="0"/>
              </a:spcBef>
              <a:spcAft>
                <a:spcPts val="0"/>
              </a:spcAft>
              <a:buSzPts val="700"/>
              <a:buChar char="■"/>
              <a:defRPr sz="932"/>
            </a:lvl3pPr>
            <a:lvl4pPr marL="2434590" lvl="3" indent="-363498" algn="ctr">
              <a:spcBef>
                <a:spcPts val="0"/>
              </a:spcBef>
              <a:spcAft>
                <a:spcPts val="0"/>
              </a:spcAft>
              <a:buSzPts val="700"/>
              <a:buChar char="●"/>
              <a:defRPr sz="932"/>
            </a:lvl4pPr>
            <a:lvl5pPr marL="3043238" lvl="4" indent="-363498" algn="ctr">
              <a:spcBef>
                <a:spcPts val="0"/>
              </a:spcBef>
              <a:spcAft>
                <a:spcPts val="0"/>
              </a:spcAft>
              <a:buSzPts val="700"/>
              <a:buChar char="○"/>
              <a:defRPr sz="932"/>
            </a:lvl5pPr>
            <a:lvl6pPr marL="3651885" lvl="5" indent="-363498" algn="ctr">
              <a:spcBef>
                <a:spcPts val="0"/>
              </a:spcBef>
              <a:spcAft>
                <a:spcPts val="0"/>
              </a:spcAft>
              <a:buSzPts val="700"/>
              <a:buChar char="■"/>
              <a:defRPr sz="932"/>
            </a:lvl6pPr>
            <a:lvl7pPr marL="4260533" lvl="6" indent="-363498" algn="ctr">
              <a:spcBef>
                <a:spcPts val="0"/>
              </a:spcBef>
              <a:spcAft>
                <a:spcPts val="0"/>
              </a:spcAft>
              <a:buSzPts val="700"/>
              <a:buChar char="●"/>
              <a:defRPr sz="932"/>
            </a:lvl7pPr>
            <a:lvl8pPr marL="4869180" lvl="7" indent="-363498" algn="ctr">
              <a:spcBef>
                <a:spcPts val="0"/>
              </a:spcBef>
              <a:spcAft>
                <a:spcPts val="0"/>
              </a:spcAft>
              <a:buSzPts val="700"/>
              <a:buChar char="○"/>
              <a:defRPr sz="932"/>
            </a:lvl8pPr>
            <a:lvl9pPr marL="5477828" lvl="8" indent="-363498" algn="ctr">
              <a:spcBef>
                <a:spcPts val="0"/>
              </a:spcBef>
              <a:spcAft>
                <a:spcPts val="0"/>
              </a:spcAft>
              <a:buSzPts val="700"/>
              <a:buChar char="■"/>
              <a:defRPr sz="932"/>
            </a:lvl9pPr>
          </a:lstStyle>
          <a:p>
            <a:endParaRPr dirty="0"/>
          </a:p>
        </p:txBody>
      </p:sp>
      <p:sp>
        <p:nvSpPr>
          <p:cNvPr id="459" name="Google Shape;459;p33"/>
          <p:cNvSpPr txBox="1">
            <a:spLocks noGrp="1"/>
          </p:cNvSpPr>
          <p:nvPr>
            <p:ph type="body" idx="4"/>
          </p:nvPr>
        </p:nvSpPr>
        <p:spPr>
          <a:xfrm>
            <a:off x="2426208" y="3535680"/>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0" name="Google Shape;460;p33"/>
          <p:cNvSpPr txBox="1">
            <a:spLocks noGrp="1"/>
          </p:cNvSpPr>
          <p:nvPr>
            <p:ph type="body" idx="5"/>
          </p:nvPr>
        </p:nvSpPr>
        <p:spPr>
          <a:xfrm>
            <a:off x="2036064" y="3779520"/>
            <a:ext cx="2414000" cy="41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1" name="Google Shape;461;p33"/>
          <p:cNvSpPr txBox="1">
            <a:spLocks noGrp="1"/>
          </p:cNvSpPr>
          <p:nvPr>
            <p:ph type="body" idx="6"/>
          </p:nvPr>
        </p:nvSpPr>
        <p:spPr>
          <a:xfrm>
            <a:off x="98755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7" name="Google Shape;467;p33"/>
          <p:cNvSpPr txBox="1">
            <a:spLocks noGrp="1"/>
          </p:cNvSpPr>
          <p:nvPr>
            <p:ph type="body" idx="15"/>
          </p:nvPr>
        </p:nvSpPr>
        <p:spPr>
          <a:xfrm>
            <a:off x="98755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2" name="Google Shape;462;p33"/>
          <p:cNvSpPr txBox="1">
            <a:spLocks noGrp="1"/>
          </p:cNvSpPr>
          <p:nvPr>
            <p:ph type="body" idx="7"/>
          </p:nvPr>
        </p:nvSpPr>
        <p:spPr>
          <a:xfrm>
            <a:off x="385270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8" name="Google Shape;468;p33"/>
          <p:cNvSpPr txBox="1">
            <a:spLocks noGrp="1"/>
          </p:cNvSpPr>
          <p:nvPr>
            <p:ph type="body" idx="16"/>
          </p:nvPr>
        </p:nvSpPr>
        <p:spPr>
          <a:xfrm>
            <a:off x="385267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3" name="Google Shape;463;p33"/>
          <p:cNvSpPr txBox="1">
            <a:spLocks noGrp="1"/>
          </p:cNvSpPr>
          <p:nvPr>
            <p:ph type="body" idx="8"/>
          </p:nvPr>
        </p:nvSpPr>
        <p:spPr>
          <a:xfrm>
            <a:off x="5279136" y="37307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1" name="Google Shape;471;p33"/>
          <p:cNvSpPr txBox="1">
            <a:spLocks noGrp="1"/>
          </p:cNvSpPr>
          <p:nvPr>
            <p:ph type="body" idx="19"/>
          </p:nvPr>
        </p:nvSpPr>
        <p:spPr>
          <a:xfrm>
            <a:off x="5279136" y="399897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4" name="Google Shape;464;p33"/>
          <p:cNvSpPr txBox="1">
            <a:spLocks noGrp="1"/>
          </p:cNvSpPr>
          <p:nvPr>
            <p:ph type="body" idx="9"/>
          </p:nvPr>
        </p:nvSpPr>
        <p:spPr>
          <a:xfrm>
            <a:off x="6705600"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9" name="Google Shape;469;p33"/>
          <p:cNvSpPr txBox="1">
            <a:spLocks noGrp="1"/>
          </p:cNvSpPr>
          <p:nvPr>
            <p:ph type="body" idx="17"/>
          </p:nvPr>
        </p:nvSpPr>
        <p:spPr>
          <a:xfrm>
            <a:off x="6705600"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5" name="Google Shape;465;p33"/>
          <p:cNvSpPr txBox="1">
            <a:spLocks noGrp="1"/>
          </p:cNvSpPr>
          <p:nvPr>
            <p:ph type="body" idx="13"/>
          </p:nvPr>
        </p:nvSpPr>
        <p:spPr>
          <a:xfrm>
            <a:off x="8132064" y="374294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2" name="Google Shape;472;p33"/>
          <p:cNvSpPr txBox="1">
            <a:spLocks noGrp="1"/>
          </p:cNvSpPr>
          <p:nvPr>
            <p:ph type="body" idx="20"/>
          </p:nvPr>
        </p:nvSpPr>
        <p:spPr>
          <a:xfrm>
            <a:off x="8132064" y="401116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6" name="Google Shape;466;p33"/>
          <p:cNvSpPr txBox="1">
            <a:spLocks noGrp="1"/>
          </p:cNvSpPr>
          <p:nvPr>
            <p:ph type="body" idx="14"/>
          </p:nvPr>
        </p:nvSpPr>
        <p:spPr>
          <a:xfrm>
            <a:off x="958291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0" name="Google Shape;470;p33"/>
          <p:cNvSpPr txBox="1">
            <a:spLocks noGrp="1"/>
          </p:cNvSpPr>
          <p:nvPr>
            <p:ph type="body" idx="18"/>
          </p:nvPr>
        </p:nvSpPr>
        <p:spPr>
          <a:xfrm>
            <a:off x="9582913"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51" name="Google Shape;268;p27">
            <a:extLst>
              <a:ext uri="{FF2B5EF4-FFF2-40B4-BE49-F238E27FC236}">
                <a16:creationId xmlns:a16="http://schemas.microsoft.com/office/drawing/2014/main" id="{BD598AAA-EC64-E247-A143-0FD7003A5EBE}"/>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044726ED-490C-4E25-5D29-B1C2282C9679}"/>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72122544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matchingName="Left-side Three Features" preserve="1" userDrawn="1">
  <p:cSld name="Left-side Three Features">
    <p:spTree>
      <p:nvGrpSpPr>
        <p:cNvPr id="1" name="Shape 473"/>
        <p:cNvGrpSpPr/>
        <p:nvPr/>
      </p:nvGrpSpPr>
      <p:grpSpPr>
        <a:xfrm>
          <a:off x="0" y="0"/>
          <a:ext cx="0" cy="0"/>
          <a:chOff x="0" y="0"/>
          <a:chExt cx="0" cy="0"/>
        </a:xfrm>
      </p:grpSpPr>
      <p:grpSp>
        <p:nvGrpSpPr>
          <p:cNvPr id="3" name="Group 2">
            <a:extLst>
              <a:ext uri="{FF2B5EF4-FFF2-40B4-BE49-F238E27FC236}">
                <a16:creationId xmlns:a16="http://schemas.microsoft.com/office/drawing/2014/main" id="{6918A15B-1B0C-3FEA-A206-165286B4C386}"/>
              </a:ext>
              <a:ext uri="{C183D7F6-B498-43B3-948B-1728B52AA6E4}">
                <adec:decorative xmlns:adec="http://schemas.microsoft.com/office/drawing/2017/decorative" val="1"/>
              </a:ext>
            </a:extLst>
          </p:cNvPr>
          <p:cNvGrpSpPr/>
          <p:nvPr userDrawn="1"/>
        </p:nvGrpSpPr>
        <p:grpSpPr>
          <a:xfrm>
            <a:off x="840272" y="-1396268"/>
            <a:ext cx="16560620" cy="9094818"/>
            <a:chOff x="630203" y="-1047201"/>
            <a:chExt cx="12420465" cy="6821113"/>
          </a:xfrm>
        </p:grpSpPr>
        <p:grpSp>
          <p:nvGrpSpPr>
            <p:cNvPr id="2" name="Group 1">
              <a:extLst>
                <a:ext uri="{FF2B5EF4-FFF2-40B4-BE49-F238E27FC236}">
                  <a16:creationId xmlns:a16="http://schemas.microsoft.com/office/drawing/2014/main" id="{CEC1B788-A994-4CB3-5A96-6C8835D4CE39}"/>
                </a:ext>
                <a:ext uri="{C183D7F6-B498-43B3-948B-1728B52AA6E4}">
                  <adec:decorative xmlns:adec="http://schemas.microsoft.com/office/drawing/2017/decorative" val="1"/>
                </a:ext>
              </a:extLst>
            </p:cNvPr>
            <p:cNvGrpSpPr/>
            <p:nvPr userDrawn="1"/>
          </p:nvGrpSpPr>
          <p:grpSpPr>
            <a:xfrm>
              <a:off x="630203" y="-1047201"/>
              <a:ext cx="12420465" cy="6821113"/>
              <a:chOff x="630203" y="-1047201"/>
              <a:chExt cx="12420465" cy="6821113"/>
            </a:xfrm>
          </p:grpSpPr>
          <p:sp>
            <p:nvSpPr>
              <p:cNvPr id="477" name="Google Shape;477;p34">
                <a:extLst>
                  <a:ext uri="{C183D7F6-B498-43B3-948B-1728B52AA6E4}">
                    <adec:decorative xmlns:adec="http://schemas.microsoft.com/office/drawing/2017/decorative" val="1"/>
                  </a:ext>
                </a:extLst>
              </p:cNvPr>
              <p:cNvSpPr/>
              <p:nvPr/>
            </p:nvSpPr>
            <p:spPr>
              <a:xfrm>
                <a:off x="6636368" y="-630488"/>
                <a:ext cx="6414300" cy="6404400"/>
              </a:xfrm>
              <a:prstGeom prst="ellipse">
                <a:avLst/>
              </a:prstGeom>
              <a:gradFill>
                <a:gsLst>
                  <a:gs pos="0">
                    <a:srgbClr val="1F9CF0"/>
                  </a:gs>
                  <a:gs pos="100000">
                    <a:srgbClr val="D59DFF">
                      <a:alpha val="42352"/>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78" name="Google Shape;478;p34">
                <a:extLst>
                  <a:ext uri="{C183D7F6-B498-43B3-948B-1728B52AA6E4}">
                    <adec:decorative xmlns:adec="http://schemas.microsoft.com/office/drawing/2017/decorative" val="1"/>
                  </a:ext>
                </a:extLst>
              </p:cNvPr>
              <p:cNvSpPr/>
              <p:nvPr/>
            </p:nvSpPr>
            <p:spPr>
              <a:xfrm>
                <a:off x="5273946" y="2868323"/>
                <a:ext cx="1612500" cy="1609800"/>
              </a:xfrm>
              <a:prstGeom prst="ellipse">
                <a:avLst/>
              </a:prstGeom>
              <a:gradFill>
                <a:gsLst>
                  <a:gs pos="0">
                    <a:srgbClr val="8661C5"/>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79" name="Google Shape;479;p34">
                <a:extLst>
                  <a:ext uri="{C183D7F6-B498-43B3-948B-1728B52AA6E4}">
                    <adec:decorative xmlns:adec="http://schemas.microsoft.com/office/drawing/2017/decorative" val="1"/>
                  </a:ext>
                </a:extLst>
              </p:cNvPr>
              <p:cNvGrpSpPr/>
              <p:nvPr/>
            </p:nvGrpSpPr>
            <p:grpSpPr>
              <a:xfrm>
                <a:off x="1180602" y="1274407"/>
                <a:ext cx="3531098" cy="1087061"/>
                <a:chOff x="1981200" y="3575359"/>
                <a:chExt cx="6892330" cy="2368500"/>
              </a:xfrm>
            </p:grpSpPr>
            <p:sp>
              <p:nvSpPr>
                <p:cNvPr id="480" name="Google Shape;480;p34"/>
                <p:cNvSpPr/>
                <p:nvPr/>
              </p:nvSpPr>
              <p:spPr>
                <a:xfrm>
                  <a:off x="1981200" y="3575359"/>
                  <a:ext cx="6630300" cy="2368500"/>
                </a:xfrm>
                <a:prstGeom prst="roundRect">
                  <a:avLst>
                    <a:gd name="adj" fmla="val 3188"/>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sp>
              <p:nvSpPr>
                <p:cNvPr id="481" name="Google Shape;481;p34"/>
                <p:cNvSpPr/>
                <p:nvPr/>
              </p:nvSpPr>
              <p:spPr>
                <a:xfrm rot="5400000">
                  <a:off x="8503930" y="4648452"/>
                  <a:ext cx="477000" cy="262200"/>
                </a:xfrm>
                <a:prstGeom prst="triangle">
                  <a:avLst>
                    <a:gd name="adj" fmla="val 50000"/>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482" name="Google Shape;482;p34">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523874" y="-1047201"/>
                <a:ext cx="3762369" cy="3762369"/>
              </a:xfrm>
              <a:prstGeom prst="rect">
                <a:avLst/>
              </a:prstGeom>
              <a:noFill/>
              <a:ln>
                <a:noFill/>
              </a:ln>
            </p:spPr>
          </p:pic>
          <p:grpSp>
            <p:nvGrpSpPr>
              <p:cNvPr id="483" name="Google Shape;483;p34">
                <a:extLst>
                  <a:ext uri="{C183D7F6-B498-43B3-948B-1728B52AA6E4}">
                    <adec:decorative xmlns:adec="http://schemas.microsoft.com/office/drawing/2017/decorative" val="1"/>
                  </a:ext>
                </a:extLst>
              </p:cNvPr>
              <p:cNvGrpSpPr/>
              <p:nvPr/>
            </p:nvGrpSpPr>
            <p:grpSpPr>
              <a:xfrm>
                <a:off x="820220" y="1469444"/>
                <a:ext cx="705748" cy="704283"/>
                <a:chOff x="1551767" y="2937134"/>
                <a:chExt cx="1535400" cy="1534500"/>
              </a:xfrm>
            </p:grpSpPr>
            <p:sp>
              <p:nvSpPr>
                <p:cNvPr id="484" name="Google Shape;484;p34"/>
                <p:cNvSpPr/>
                <p:nvPr/>
              </p:nvSpPr>
              <p:spPr>
                <a:xfrm>
                  <a:off x="1551767" y="2937134"/>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85" name="Google Shape;485;p34"/>
                <p:cNvSpPr/>
                <p:nvPr/>
              </p:nvSpPr>
              <p:spPr>
                <a:xfrm>
                  <a:off x="1811292" y="3198537"/>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486" name="Google Shape;486;p34">
                <a:extLst>
                  <a:ext uri="{C183D7F6-B498-43B3-948B-1728B52AA6E4}">
                    <adec:decorative xmlns:adec="http://schemas.microsoft.com/office/drawing/2017/decorative" val="1"/>
                  </a:ext>
                </a:extLst>
              </p:cNvPr>
              <p:cNvSpPr/>
              <p:nvPr/>
            </p:nvSpPr>
            <p:spPr>
              <a:xfrm>
                <a:off x="820063" y="2601735"/>
                <a:ext cx="705778" cy="704309"/>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88" name="Google Shape;488;p34">
                <a:extLst>
                  <a:ext uri="{C183D7F6-B498-43B3-948B-1728B52AA6E4}">
                    <adec:decorative xmlns:adec="http://schemas.microsoft.com/office/drawing/2017/decorative" val="1"/>
                  </a:ext>
                </a:extLst>
              </p:cNvPr>
              <p:cNvSpPr/>
              <p:nvPr/>
            </p:nvSpPr>
            <p:spPr>
              <a:xfrm>
                <a:off x="1180459" y="2445158"/>
                <a:ext cx="3396721" cy="1087009"/>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sp>
            <p:nvSpPr>
              <p:cNvPr id="489" name="Google Shape;489;p34">
                <a:extLst>
                  <a:ext uri="{C183D7F6-B498-43B3-948B-1728B52AA6E4}">
                    <adec:decorative xmlns:adec="http://schemas.microsoft.com/office/drawing/2017/decorative" val="1"/>
                  </a:ext>
                </a:extLst>
              </p:cNvPr>
              <p:cNvSpPr/>
              <p:nvPr/>
            </p:nvSpPr>
            <p:spPr>
              <a:xfrm>
                <a:off x="820063" y="3772667"/>
                <a:ext cx="705778" cy="704309"/>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91" name="Google Shape;491;p34">
                <a:extLst>
                  <a:ext uri="{C183D7F6-B498-43B3-948B-1728B52AA6E4}">
                    <adec:decorative xmlns:adec="http://schemas.microsoft.com/office/drawing/2017/decorative" val="1"/>
                  </a:ext>
                </a:extLst>
              </p:cNvPr>
              <p:cNvSpPr/>
              <p:nvPr/>
            </p:nvSpPr>
            <p:spPr>
              <a:xfrm>
                <a:off x="1180459" y="3616090"/>
                <a:ext cx="3396721" cy="1087009"/>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cxnSp>
            <p:nvCxnSpPr>
              <p:cNvPr id="32" name="Google Shape;67;p15">
                <a:extLst>
                  <a:ext uri="{FF2B5EF4-FFF2-40B4-BE49-F238E27FC236}">
                    <a16:creationId xmlns:a16="http://schemas.microsoft.com/office/drawing/2014/main" id="{70CFA9DA-9887-894C-9497-56E08226B48E}"/>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4" name="Google Shape;261;p26">
                <a:extLst>
                  <a:ext uri="{FF2B5EF4-FFF2-40B4-BE49-F238E27FC236}">
                    <a16:creationId xmlns:a16="http://schemas.microsoft.com/office/drawing/2014/main" id="{CB6BFF36-3ECF-608B-68CB-D8F4A3277BCC}"/>
                  </a:ext>
                  <a:ext uri="{C183D7F6-B498-43B3-948B-1728B52AA6E4}">
                    <adec:decorative xmlns:adec="http://schemas.microsoft.com/office/drawing/2017/decorative" val="1"/>
                  </a:ext>
                </a:extLst>
              </p:cNvPr>
              <p:cNvSpPr/>
              <p:nvPr userDrawn="1"/>
            </p:nvSpPr>
            <p:spPr>
              <a:xfrm rot="10800000">
                <a:off x="998900" y="0"/>
                <a:ext cx="73200" cy="1002821"/>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487" name="Google Shape;487;p34">
              <a:extLst>
                <a:ext uri="{C183D7F6-B498-43B3-948B-1728B52AA6E4}">
                  <adec:decorative xmlns:adec="http://schemas.microsoft.com/office/drawing/2017/decorative" val="1"/>
                </a:ext>
              </a:extLst>
            </p:cNvPr>
            <p:cNvSpPr/>
            <p:nvPr/>
          </p:nvSpPr>
          <p:spPr>
            <a:xfrm>
              <a:off x="941843" y="2719176"/>
              <a:ext cx="467582" cy="466701"/>
            </a:xfrm>
            <a:prstGeom prst="ellipse">
              <a:avLst/>
            </a:prstGeom>
            <a:solidFill>
              <a:schemeClr val="accent3"/>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90" name="Google Shape;490;p34">
              <a:extLst>
                <a:ext uri="{C183D7F6-B498-43B3-948B-1728B52AA6E4}">
                  <adec:decorative xmlns:adec="http://schemas.microsoft.com/office/drawing/2017/decorative" val="1"/>
                </a:ext>
              </a:extLst>
            </p:cNvPr>
            <p:cNvSpPr/>
            <p:nvPr/>
          </p:nvSpPr>
          <p:spPr>
            <a:xfrm>
              <a:off x="941843" y="3890108"/>
              <a:ext cx="467582" cy="466701"/>
            </a:xfrm>
            <a:prstGeom prst="ellipse">
              <a:avLst/>
            </a:prstGeom>
            <a:solidFill>
              <a:schemeClr val="accent3"/>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5" name="Google Shape;262;p26">
            <a:extLst>
              <a:ext uri="{FF2B5EF4-FFF2-40B4-BE49-F238E27FC236}">
                <a16:creationId xmlns:a16="http://schemas.microsoft.com/office/drawing/2014/main" id="{AB25E7C3-F3BF-0722-EC0A-A83C1769E129}"/>
              </a:ext>
            </a:extLst>
          </p:cNvPr>
          <p:cNvSpPr txBox="1">
            <a:spLocks noGrp="1"/>
          </p:cNvSpPr>
          <p:nvPr>
            <p:ph type="title"/>
          </p:nvPr>
        </p:nvSpPr>
        <p:spPr>
          <a:xfrm>
            <a:off x="1633734" y="103749"/>
            <a:ext cx="5364400" cy="12192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sz="3195"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92" name="Google Shape;492;p34"/>
          <p:cNvSpPr>
            <a:spLocks noGrp="1"/>
          </p:cNvSpPr>
          <p:nvPr>
            <p:ph type="pic" idx="2"/>
          </p:nvPr>
        </p:nvSpPr>
        <p:spPr>
          <a:xfrm>
            <a:off x="1308348" y="2171852"/>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5" name="Google Shape;495;p34"/>
          <p:cNvSpPr txBox="1">
            <a:spLocks noGrp="1"/>
          </p:cNvSpPr>
          <p:nvPr>
            <p:ph type="body" idx="1"/>
          </p:nvPr>
        </p:nvSpPr>
        <p:spPr>
          <a:xfrm>
            <a:off x="2274299" y="1877881"/>
            <a:ext cx="2029320" cy="286659"/>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nSpc>
                <a:spcPct val="100000"/>
              </a:lnSpc>
              <a:spcBef>
                <a:spcPts val="0"/>
              </a:spcBef>
              <a:spcAft>
                <a:spcPts val="0"/>
              </a:spcAft>
              <a:buSzPts val="1100"/>
              <a:buChar char="○"/>
              <a:defRPr sz="1464"/>
            </a:lvl2pPr>
            <a:lvl3pPr marL="1825943" lvl="2" indent="-397312">
              <a:lnSpc>
                <a:spcPct val="100000"/>
              </a:lnSpc>
              <a:spcBef>
                <a:spcPts val="0"/>
              </a:spcBef>
              <a:spcAft>
                <a:spcPts val="0"/>
              </a:spcAft>
              <a:buSzPts val="1100"/>
              <a:buChar char="■"/>
              <a:defRPr sz="1464"/>
            </a:lvl3pPr>
            <a:lvl4pPr marL="2434590" lvl="3" indent="-397312">
              <a:lnSpc>
                <a:spcPct val="100000"/>
              </a:lnSpc>
              <a:spcBef>
                <a:spcPts val="0"/>
              </a:spcBef>
              <a:spcAft>
                <a:spcPts val="0"/>
              </a:spcAft>
              <a:buSzPts val="1100"/>
              <a:buChar char="●"/>
              <a:defRPr sz="1464"/>
            </a:lvl4pPr>
            <a:lvl5pPr marL="3043238" lvl="4" indent="-397312">
              <a:lnSpc>
                <a:spcPct val="100000"/>
              </a:lnSpc>
              <a:spcBef>
                <a:spcPts val="0"/>
              </a:spcBef>
              <a:spcAft>
                <a:spcPts val="0"/>
              </a:spcAft>
              <a:buSzPts val="1100"/>
              <a:buChar char="○"/>
              <a:defRPr sz="1464"/>
            </a:lvl5pPr>
            <a:lvl6pPr marL="3651885" lvl="5" indent="-397312">
              <a:lnSpc>
                <a:spcPct val="100000"/>
              </a:lnSpc>
              <a:spcBef>
                <a:spcPts val="0"/>
              </a:spcBef>
              <a:spcAft>
                <a:spcPts val="0"/>
              </a:spcAft>
              <a:buSzPts val="1100"/>
              <a:buChar char="■"/>
              <a:defRPr sz="1464"/>
            </a:lvl6pPr>
            <a:lvl7pPr marL="4260533" lvl="6" indent="-397312">
              <a:lnSpc>
                <a:spcPct val="100000"/>
              </a:lnSpc>
              <a:spcBef>
                <a:spcPts val="0"/>
              </a:spcBef>
              <a:spcAft>
                <a:spcPts val="0"/>
              </a:spcAft>
              <a:buSzPts val="1100"/>
              <a:buChar char="●"/>
              <a:defRPr sz="1464"/>
            </a:lvl7pPr>
            <a:lvl8pPr marL="4869180" lvl="7" indent="-397312">
              <a:lnSpc>
                <a:spcPct val="100000"/>
              </a:lnSpc>
              <a:spcBef>
                <a:spcPts val="0"/>
              </a:spcBef>
              <a:spcAft>
                <a:spcPts val="0"/>
              </a:spcAft>
              <a:buSzPts val="1100"/>
              <a:buChar char="○"/>
              <a:defRPr sz="1464"/>
            </a:lvl8pPr>
            <a:lvl9pPr marL="5477828" lvl="8" indent="-397312">
              <a:lnSpc>
                <a:spcPct val="100000"/>
              </a:lnSpc>
              <a:spcBef>
                <a:spcPts val="0"/>
              </a:spcBef>
              <a:spcAft>
                <a:spcPts val="0"/>
              </a:spcAft>
              <a:buSzPts val="1100"/>
              <a:buChar char="■"/>
              <a:defRPr sz="1464"/>
            </a:lvl9pPr>
          </a:lstStyle>
          <a:p>
            <a:endParaRPr dirty="0"/>
          </a:p>
        </p:txBody>
      </p:sp>
      <p:sp>
        <p:nvSpPr>
          <p:cNvPr id="496" name="Google Shape;496;p34"/>
          <p:cNvSpPr txBox="1">
            <a:spLocks noGrp="1"/>
          </p:cNvSpPr>
          <p:nvPr>
            <p:ph type="body" idx="5"/>
          </p:nvPr>
        </p:nvSpPr>
        <p:spPr>
          <a:xfrm>
            <a:off x="2274299" y="2227178"/>
            <a:ext cx="3341994" cy="656338"/>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9" name="Google Shape;492;p34">
            <a:extLst>
              <a:ext uri="{FF2B5EF4-FFF2-40B4-BE49-F238E27FC236}">
                <a16:creationId xmlns:a16="http://schemas.microsoft.com/office/drawing/2014/main" id="{B2961469-D98A-3946-8147-3909918D86A6}"/>
              </a:ext>
            </a:extLst>
          </p:cNvPr>
          <p:cNvSpPr>
            <a:spLocks noGrp="1"/>
          </p:cNvSpPr>
          <p:nvPr>
            <p:ph type="pic" idx="10"/>
          </p:nvPr>
        </p:nvSpPr>
        <p:spPr>
          <a:xfrm>
            <a:off x="1308348" y="3679989"/>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7" name="Google Shape;497;p34"/>
          <p:cNvSpPr txBox="1">
            <a:spLocks noGrp="1"/>
          </p:cNvSpPr>
          <p:nvPr>
            <p:ph type="body" idx="6"/>
          </p:nvPr>
        </p:nvSpPr>
        <p:spPr>
          <a:xfrm>
            <a:off x="2274299" y="3438457"/>
            <a:ext cx="2029320" cy="286659"/>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rtl="0">
              <a:lnSpc>
                <a:spcPct val="100000"/>
              </a:lnSpc>
              <a:spcBef>
                <a:spcPts val="0"/>
              </a:spcBef>
              <a:spcAft>
                <a:spcPts val="0"/>
              </a:spcAft>
              <a:buSzPts val="1100"/>
              <a:buChar char="○"/>
              <a:defRPr sz="1464"/>
            </a:lvl2pPr>
            <a:lvl3pPr marL="1825943" lvl="2" indent="-397312" rtl="0">
              <a:lnSpc>
                <a:spcPct val="100000"/>
              </a:lnSpc>
              <a:spcBef>
                <a:spcPts val="0"/>
              </a:spcBef>
              <a:spcAft>
                <a:spcPts val="0"/>
              </a:spcAft>
              <a:buSzPts val="1100"/>
              <a:buChar char="■"/>
              <a:defRPr sz="1464"/>
            </a:lvl3pPr>
            <a:lvl4pPr marL="2434590" lvl="3" indent="-397312" rtl="0">
              <a:lnSpc>
                <a:spcPct val="100000"/>
              </a:lnSpc>
              <a:spcBef>
                <a:spcPts val="0"/>
              </a:spcBef>
              <a:spcAft>
                <a:spcPts val="0"/>
              </a:spcAft>
              <a:buSzPts val="1100"/>
              <a:buChar char="●"/>
              <a:defRPr sz="1464"/>
            </a:lvl4pPr>
            <a:lvl5pPr marL="3043238" lvl="4" indent="-397312" rtl="0">
              <a:lnSpc>
                <a:spcPct val="100000"/>
              </a:lnSpc>
              <a:spcBef>
                <a:spcPts val="0"/>
              </a:spcBef>
              <a:spcAft>
                <a:spcPts val="0"/>
              </a:spcAft>
              <a:buSzPts val="1100"/>
              <a:buChar char="○"/>
              <a:defRPr sz="1464"/>
            </a:lvl5pPr>
            <a:lvl6pPr marL="3651885" lvl="5" indent="-397312" rtl="0">
              <a:lnSpc>
                <a:spcPct val="100000"/>
              </a:lnSpc>
              <a:spcBef>
                <a:spcPts val="0"/>
              </a:spcBef>
              <a:spcAft>
                <a:spcPts val="0"/>
              </a:spcAft>
              <a:buSzPts val="1100"/>
              <a:buChar char="■"/>
              <a:defRPr sz="1464"/>
            </a:lvl6pPr>
            <a:lvl7pPr marL="4260533" lvl="6" indent="-397312" rtl="0">
              <a:lnSpc>
                <a:spcPct val="100000"/>
              </a:lnSpc>
              <a:spcBef>
                <a:spcPts val="0"/>
              </a:spcBef>
              <a:spcAft>
                <a:spcPts val="0"/>
              </a:spcAft>
              <a:buSzPts val="1100"/>
              <a:buChar char="●"/>
              <a:defRPr sz="1464"/>
            </a:lvl7pPr>
            <a:lvl8pPr marL="4869180" lvl="7" indent="-397312" rtl="0">
              <a:lnSpc>
                <a:spcPct val="100000"/>
              </a:lnSpc>
              <a:spcBef>
                <a:spcPts val="0"/>
              </a:spcBef>
              <a:spcAft>
                <a:spcPts val="0"/>
              </a:spcAft>
              <a:buSzPts val="1100"/>
              <a:buChar char="○"/>
              <a:defRPr sz="1464"/>
            </a:lvl8pPr>
            <a:lvl9pPr marL="5477828" lvl="8" indent="-397312" rtl="0">
              <a:lnSpc>
                <a:spcPct val="100000"/>
              </a:lnSpc>
              <a:spcBef>
                <a:spcPts val="0"/>
              </a:spcBef>
              <a:spcAft>
                <a:spcPts val="0"/>
              </a:spcAft>
              <a:buSzPts val="1100"/>
              <a:buChar char="■"/>
              <a:defRPr sz="1464"/>
            </a:lvl9pPr>
          </a:lstStyle>
          <a:p>
            <a:endParaRPr dirty="0"/>
          </a:p>
        </p:txBody>
      </p:sp>
      <p:sp>
        <p:nvSpPr>
          <p:cNvPr id="498" name="Google Shape;498;p34"/>
          <p:cNvSpPr txBox="1">
            <a:spLocks noGrp="1"/>
          </p:cNvSpPr>
          <p:nvPr>
            <p:ph type="body" idx="7"/>
          </p:nvPr>
        </p:nvSpPr>
        <p:spPr>
          <a:xfrm>
            <a:off x="2274299" y="3787754"/>
            <a:ext cx="3341994" cy="656338"/>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0" name="Google Shape;492;p34">
            <a:extLst>
              <a:ext uri="{FF2B5EF4-FFF2-40B4-BE49-F238E27FC236}">
                <a16:creationId xmlns:a16="http://schemas.microsoft.com/office/drawing/2014/main" id="{196967CD-4856-9243-9EFE-A327D7763891}"/>
              </a:ext>
            </a:extLst>
          </p:cNvPr>
          <p:cNvSpPr>
            <a:spLocks noGrp="1"/>
          </p:cNvSpPr>
          <p:nvPr>
            <p:ph type="pic" idx="11"/>
          </p:nvPr>
        </p:nvSpPr>
        <p:spPr>
          <a:xfrm>
            <a:off x="1308348" y="5241231"/>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9" name="Google Shape;499;p34"/>
          <p:cNvSpPr txBox="1">
            <a:spLocks noGrp="1"/>
          </p:cNvSpPr>
          <p:nvPr>
            <p:ph type="body" idx="8"/>
          </p:nvPr>
        </p:nvSpPr>
        <p:spPr>
          <a:xfrm>
            <a:off x="2274299" y="4999033"/>
            <a:ext cx="2029320" cy="286659"/>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rtl="0">
              <a:lnSpc>
                <a:spcPct val="100000"/>
              </a:lnSpc>
              <a:spcBef>
                <a:spcPts val="0"/>
              </a:spcBef>
              <a:spcAft>
                <a:spcPts val="0"/>
              </a:spcAft>
              <a:buSzPts val="1100"/>
              <a:buChar char="○"/>
              <a:defRPr sz="1464"/>
            </a:lvl2pPr>
            <a:lvl3pPr marL="1825943" lvl="2" indent="-397312" rtl="0">
              <a:lnSpc>
                <a:spcPct val="100000"/>
              </a:lnSpc>
              <a:spcBef>
                <a:spcPts val="0"/>
              </a:spcBef>
              <a:spcAft>
                <a:spcPts val="0"/>
              </a:spcAft>
              <a:buSzPts val="1100"/>
              <a:buChar char="■"/>
              <a:defRPr sz="1464"/>
            </a:lvl3pPr>
            <a:lvl4pPr marL="2434590" lvl="3" indent="-397312" rtl="0">
              <a:lnSpc>
                <a:spcPct val="100000"/>
              </a:lnSpc>
              <a:spcBef>
                <a:spcPts val="0"/>
              </a:spcBef>
              <a:spcAft>
                <a:spcPts val="0"/>
              </a:spcAft>
              <a:buSzPts val="1100"/>
              <a:buChar char="●"/>
              <a:defRPr sz="1464"/>
            </a:lvl4pPr>
            <a:lvl5pPr marL="3043238" lvl="4" indent="-397312" rtl="0">
              <a:lnSpc>
                <a:spcPct val="100000"/>
              </a:lnSpc>
              <a:spcBef>
                <a:spcPts val="0"/>
              </a:spcBef>
              <a:spcAft>
                <a:spcPts val="0"/>
              </a:spcAft>
              <a:buSzPts val="1100"/>
              <a:buChar char="○"/>
              <a:defRPr sz="1464"/>
            </a:lvl5pPr>
            <a:lvl6pPr marL="3651885" lvl="5" indent="-397312" rtl="0">
              <a:lnSpc>
                <a:spcPct val="100000"/>
              </a:lnSpc>
              <a:spcBef>
                <a:spcPts val="0"/>
              </a:spcBef>
              <a:spcAft>
                <a:spcPts val="0"/>
              </a:spcAft>
              <a:buSzPts val="1100"/>
              <a:buChar char="■"/>
              <a:defRPr sz="1464"/>
            </a:lvl6pPr>
            <a:lvl7pPr marL="4260533" lvl="6" indent="-397312" rtl="0">
              <a:lnSpc>
                <a:spcPct val="100000"/>
              </a:lnSpc>
              <a:spcBef>
                <a:spcPts val="0"/>
              </a:spcBef>
              <a:spcAft>
                <a:spcPts val="0"/>
              </a:spcAft>
              <a:buSzPts val="1100"/>
              <a:buChar char="●"/>
              <a:defRPr sz="1464"/>
            </a:lvl7pPr>
            <a:lvl8pPr marL="4869180" lvl="7" indent="-397312" rtl="0">
              <a:lnSpc>
                <a:spcPct val="100000"/>
              </a:lnSpc>
              <a:spcBef>
                <a:spcPts val="0"/>
              </a:spcBef>
              <a:spcAft>
                <a:spcPts val="0"/>
              </a:spcAft>
              <a:buSzPts val="1100"/>
              <a:buChar char="○"/>
              <a:defRPr sz="1464"/>
            </a:lvl8pPr>
            <a:lvl9pPr marL="5477828" lvl="8" indent="-397312" rtl="0">
              <a:lnSpc>
                <a:spcPct val="100000"/>
              </a:lnSpc>
              <a:spcBef>
                <a:spcPts val="0"/>
              </a:spcBef>
              <a:spcAft>
                <a:spcPts val="0"/>
              </a:spcAft>
              <a:buSzPts val="1100"/>
              <a:buChar char="■"/>
              <a:defRPr sz="1464"/>
            </a:lvl9pPr>
          </a:lstStyle>
          <a:p>
            <a:endParaRPr dirty="0"/>
          </a:p>
        </p:txBody>
      </p:sp>
      <p:sp>
        <p:nvSpPr>
          <p:cNvPr id="500" name="Google Shape;500;p34"/>
          <p:cNvSpPr txBox="1">
            <a:spLocks noGrp="1"/>
          </p:cNvSpPr>
          <p:nvPr>
            <p:ph type="body" idx="9"/>
          </p:nvPr>
        </p:nvSpPr>
        <p:spPr>
          <a:xfrm>
            <a:off x="2274299" y="5348330"/>
            <a:ext cx="3341994" cy="656338"/>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 name="Google Shape;268;p27">
            <a:extLst>
              <a:ext uri="{FF2B5EF4-FFF2-40B4-BE49-F238E27FC236}">
                <a16:creationId xmlns:a16="http://schemas.microsoft.com/office/drawing/2014/main" id="{5366E105-BBFE-6A48-9C65-CFF9CF06D742}"/>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E0FDE52B-0AA1-510D-2474-6DEE866C23EB}"/>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288983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matchingName="Four Features - Right" preserve="1" userDrawn="1">
  <p:cSld name="Four Features - Right">
    <p:spTree>
      <p:nvGrpSpPr>
        <p:cNvPr id="1" name="Shape 501"/>
        <p:cNvGrpSpPr/>
        <p:nvPr/>
      </p:nvGrpSpPr>
      <p:grpSpPr>
        <a:xfrm>
          <a:off x="0" y="0"/>
          <a:ext cx="0" cy="0"/>
          <a:chOff x="0" y="0"/>
          <a:chExt cx="0" cy="0"/>
        </a:xfrm>
      </p:grpSpPr>
      <p:grpSp>
        <p:nvGrpSpPr>
          <p:cNvPr id="3" name="Group 2">
            <a:extLst>
              <a:ext uri="{FF2B5EF4-FFF2-40B4-BE49-F238E27FC236}">
                <a16:creationId xmlns:a16="http://schemas.microsoft.com/office/drawing/2014/main" id="{B4028172-C77B-BDC7-911D-9C09143BB692}"/>
              </a:ext>
              <a:ext uri="{C183D7F6-B498-43B3-948B-1728B52AA6E4}">
                <adec:decorative xmlns:adec="http://schemas.microsoft.com/office/drawing/2017/decorative" val="1"/>
              </a:ext>
            </a:extLst>
          </p:cNvPr>
          <p:cNvGrpSpPr/>
          <p:nvPr userDrawn="1"/>
        </p:nvGrpSpPr>
        <p:grpSpPr>
          <a:xfrm>
            <a:off x="-2658759" y="-3905034"/>
            <a:ext cx="14849830" cy="11912234"/>
            <a:chOff x="-1994069" y="-2928776"/>
            <a:chExt cx="11137372" cy="8934176"/>
          </a:xfrm>
        </p:grpSpPr>
        <p:sp>
          <p:nvSpPr>
            <p:cNvPr id="505" name="Google Shape;505;p35">
              <a:extLst>
                <a:ext uri="{C183D7F6-B498-43B3-948B-1728B52AA6E4}">
                  <adec:decorative xmlns:adec="http://schemas.microsoft.com/office/drawing/2017/decorative" val="1"/>
                </a:ext>
              </a:extLst>
            </p:cNvPr>
            <p:cNvSpPr/>
            <p:nvPr/>
          </p:nvSpPr>
          <p:spPr>
            <a:xfrm>
              <a:off x="-1994069" y="-399000"/>
              <a:ext cx="6414300" cy="6404400"/>
            </a:xfrm>
            <a:prstGeom prst="ellipse">
              <a:avLst/>
            </a:prstGeom>
            <a:gradFill>
              <a:gsLst>
                <a:gs pos="0">
                  <a:srgbClr val="1F9CF0">
                    <a:alpha val="74901"/>
                  </a:srgbClr>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06" name="Google Shape;506;p35">
              <a:extLst>
                <a:ext uri="{C183D7F6-B498-43B3-948B-1728B52AA6E4}">
                  <adec:decorative xmlns:adec="http://schemas.microsoft.com/office/drawing/2017/decorative" val="1"/>
                </a:ext>
              </a:extLst>
            </p:cNvPr>
            <p:cNvCxnSpPr>
              <a:cxnSpLocks/>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07" name="Google Shape;507;p35">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723729" y="-2928776"/>
              <a:ext cx="3762369" cy="3762369"/>
            </a:xfrm>
            <a:prstGeom prst="rect">
              <a:avLst/>
            </a:prstGeom>
            <a:noFill/>
            <a:ln>
              <a:noFill/>
            </a:ln>
          </p:spPr>
        </p:pic>
        <p:sp>
          <p:nvSpPr>
            <p:cNvPr id="508" name="Google Shape;508;p35">
              <a:extLst>
                <a:ext uri="{C183D7F6-B498-43B3-948B-1728B52AA6E4}">
                  <adec:decorative xmlns:adec="http://schemas.microsoft.com/office/drawing/2017/decorative" val="1"/>
                </a:ext>
              </a:extLst>
            </p:cNvPr>
            <p:cNvSpPr/>
            <p:nvPr/>
          </p:nvSpPr>
          <p:spPr>
            <a:xfrm>
              <a:off x="-807350" y="3339348"/>
              <a:ext cx="1410000" cy="1407900"/>
            </a:xfrm>
            <a:prstGeom prst="ellipse">
              <a:avLst/>
            </a:prstGeom>
            <a:gradFill>
              <a:gsLst>
                <a:gs pos="0">
                  <a:srgbClr val="8661C5"/>
                </a:gs>
                <a:gs pos="100000">
                  <a:srgbClr val="161828">
                    <a:alpha val="74901"/>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509" name="Google Shape;509;p35">
              <a:extLst>
                <a:ext uri="{C183D7F6-B498-43B3-948B-1728B52AA6E4}">
                  <adec:decorative xmlns:adec="http://schemas.microsoft.com/office/drawing/2017/decorative" val="1"/>
                </a:ext>
              </a:extLst>
            </p:cNvPr>
            <p:cNvGrpSpPr/>
            <p:nvPr/>
          </p:nvGrpSpPr>
          <p:grpSpPr>
            <a:xfrm>
              <a:off x="4959237" y="1033679"/>
              <a:ext cx="488257" cy="487204"/>
              <a:chOff x="9522579" y="1481845"/>
              <a:chExt cx="1535400" cy="1534500"/>
            </a:xfrm>
          </p:grpSpPr>
          <p:sp>
            <p:nvSpPr>
              <p:cNvPr id="510" name="Google Shape;510;p35"/>
              <p:cNvSpPr/>
              <p:nvPr/>
            </p:nvSpPr>
            <p:spPr>
              <a:xfrm>
                <a:off x="9522579" y="1481845"/>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1" name="Google Shape;511;p35"/>
              <p:cNvSpPr/>
              <p:nvPr/>
            </p:nvSpPr>
            <p:spPr>
              <a:xfrm>
                <a:off x="9782104" y="1743248"/>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2" name="Google Shape;512;p35">
              <a:extLst>
                <a:ext uri="{C183D7F6-B498-43B3-948B-1728B52AA6E4}">
                  <adec:decorative xmlns:adec="http://schemas.microsoft.com/office/drawing/2017/decorative" val="1"/>
                </a:ext>
              </a:extLst>
            </p:cNvPr>
            <p:cNvGrpSpPr/>
            <p:nvPr/>
          </p:nvGrpSpPr>
          <p:grpSpPr>
            <a:xfrm>
              <a:off x="6926359" y="1038076"/>
              <a:ext cx="488257" cy="487204"/>
              <a:chOff x="9522579" y="1481845"/>
              <a:chExt cx="1535400" cy="1534500"/>
            </a:xfrm>
          </p:grpSpPr>
          <p:sp>
            <p:nvSpPr>
              <p:cNvPr id="513" name="Google Shape;513;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4" name="Google Shape;514;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5" name="Google Shape;515;p35">
              <a:extLst>
                <a:ext uri="{C183D7F6-B498-43B3-948B-1728B52AA6E4}">
                  <adec:decorative xmlns:adec="http://schemas.microsoft.com/office/drawing/2017/decorative" val="1"/>
                </a:ext>
              </a:extLst>
            </p:cNvPr>
            <p:cNvGrpSpPr/>
            <p:nvPr/>
          </p:nvGrpSpPr>
          <p:grpSpPr>
            <a:xfrm>
              <a:off x="4959237" y="2814668"/>
              <a:ext cx="488257" cy="487204"/>
              <a:chOff x="9522579" y="1481845"/>
              <a:chExt cx="1535400" cy="1534500"/>
            </a:xfrm>
          </p:grpSpPr>
          <p:sp>
            <p:nvSpPr>
              <p:cNvPr id="516" name="Google Shape;516;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7" name="Google Shape;517;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8" name="Google Shape;518;p35">
              <a:extLst>
                <a:ext uri="{C183D7F6-B498-43B3-948B-1728B52AA6E4}">
                  <adec:decorative xmlns:adec="http://schemas.microsoft.com/office/drawing/2017/decorative" val="1"/>
                </a:ext>
              </a:extLst>
            </p:cNvPr>
            <p:cNvGrpSpPr/>
            <p:nvPr/>
          </p:nvGrpSpPr>
          <p:grpSpPr>
            <a:xfrm>
              <a:off x="6926359" y="2819066"/>
              <a:ext cx="488257" cy="487204"/>
              <a:chOff x="9522579" y="1481845"/>
              <a:chExt cx="1535400" cy="1534500"/>
            </a:xfrm>
          </p:grpSpPr>
          <p:sp>
            <p:nvSpPr>
              <p:cNvPr id="519" name="Google Shape;519;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20" name="Google Shape;520;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521" name="Google Shape;521;p35">
              <a:extLst>
                <a:ext uri="{C183D7F6-B498-43B3-948B-1728B52AA6E4}">
                  <adec:decorative xmlns:adec="http://schemas.microsoft.com/office/drawing/2017/decorative" val="1"/>
                </a:ext>
              </a:extLst>
            </p:cNvPr>
            <p:cNvCxnSpPr/>
            <p:nvPr/>
          </p:nvCxnSpPr>
          <p:spPr>
            <a:xfrm>
              <a:off x="6635633" y="1050271"/>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2" name="Google Shape;522;p35">
              <a:extLst>
                <a:ext uri="{C183D7F6-B498-43B3-948B-1728B52AA6E4}">
                  <adec:decorative xmlns:adec="http://schemas.microsoft.com/office/drawing/2017/decorative" val="1"/>
                </a:ext>
              </a:extLst>
            </p:cNvPr>
            <p:cNvCxnSpPr/>
            <p:nvPr/>
          </p:nvCxnSpPr>
          <p:spPr>
            <a:xfrm>
              <a:off x="6635633" y="2843507"/>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3" name="Google Shape;523;p35">
              <a:extLst>
                <a:ext uri="{C183D7F6-B498-43B3-948B-1728B52AA6E4}">
                  <adec:decorative xmlns:adec="http://schemas.microsoft.com/office/drawing/2017/decorative" val="1"/>
                </a:ext>
              </a:extLst>
            </p:cNvPr>
            <p:cNvCxnSpPr/>
            <p:nvPr/>
          </p:nvCxnSpPr>
          <p:spPr>
            <a:xfrm>
              <a:off x="4723729" y="1050271"/>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4" name="Google Shape;524;p35">
              <a:extLst>
                <a:ext uri="{C183D7F6-B498-43B3-948B-1728B52AA6E4}">
                  <adec:decorative xmlns:adec="http://schemas.microsoft.com/office/drawing/2017/decorative" val="1"/>
                </a:ext>
              </a:extLst>
            </p:cNvPr>
            <p:cNvCxnSpPr/>
            <p:nvPr/>
          </p:nvCxnSpPr>
          <p:spPr>
            <a:xfrm>
              <a:off x="4723729" y="2843507"/>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sp>
          <p:nvSpPr>
            <p:cNvPr id="525" name="Google Shape;525;p35">
              <a:extLst>
                <a:ext uri="{C183D7F6-B498-43B3-948B-1728B52AA6E4}">
                  <adec:decorative xmlns:adec="http://schemas.microsoft.com/office/drawing/2017/decorative" val="1"/>
                </a:ext>
              </a:extLst>
            </p:cNvPr>
            <p:cNvSpPr/>
            <p:nvPr/>
          </p:nvSpPr>
          <p:spPr>
            <a:xfrm rot="10800000">
              <a:off x="407925" y="525"/>
              <a:ext cx="73200" cy="21729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45" name="Google Shape;67;p15">
              <a:extLst>
                <a:ext uri="{FF2B5EF4-FFF2-40B4-BE49-F238E27FC236}">
                  <a16:creationId xmlns:a16="http://schemas.microsoft.com/office/drawing/2014/main" id="{DB2924D4-10FD-B348-BB9C-408508AD0696}"/>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27" name="Google Shape;527;p35"/>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526" name="Google Shape;526;p35"/>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28" name="Google Shape;528;p35"/>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29" name="Google Shape;529;p35"/>
          <p:cNvSpPr>
            <a:spLocks noGrp="1"/>
          </p:cNvSpPr>
          <p:nvPr>
            <p:ph type="pic" idx="3"/>
          </p:nvPr>
        </p:nvSpPr>
        <p:spPr>
          <a:xfrm>
            <a:off x="6790944" y="1560576"/>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4" name="Google Shape;534;p35"/>
          <p:cNvSpPr txBox="1">
            <a:spLocks noGrp="1"/>
          </p:cNvSpPr>
          <p:nvPr>
            <p:ph type="body" idx="8"/>
          </p:nvPr>
        </p:nvSpPr>
        <p:spPr>
          <a:xfrm>
            <a:off x="6608064" y="2194560"/>
            <a:ext cx="1536000" cy="200798"/>
          </a:xfrm>
          <a:prstGeom prst="rect">
            <a:avLst/>
          </a:prstGeom>
        </p:spPr>
        <p:txBody>
          <a:bodyPr spcFirstLastPara="1" wrap="square" lIns="45700" tIns="18275" rIns="45700" bIns="18275" anchor="t" anchorCtr="0">
            <a:sp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3" name="Google Shape;533;p35"/>
          <p:cNvSpPr txBox="1">
            <a:spLocks noGrp="1"/>
          </p:cNvSpPr>
          <p:nvPr>
            <p:ph type="body" idx="7"/>
          </p:nvPr>
        </p:nvSpPr>
        <p:spPr>
          <a:xfrm>
            <a:off x="6608064"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7" name="Google Shape;529;p35">
            <a:extLst>
              <a:ext uri="{FF2B5EF4-FFF2-40B4-BE49-F238E27FC236}">
                <a16:creationId xmlns:a16="http://schemas.microsoft.com/office/drawing/2014/main" id="{729EA799-ABE1-53C2-EEAF-D65055BB3DE1}"/>
              </a:ext>
            </a:extLst>
          </p:cNvPr>
          <p:cNvSpPr>
            <a:spLocks noGrp="1"/>
          </p:cNvSpPr>
          <p:nvPr>
            <p:ph type="pic" idx="21"/>
          </p:nvPr>
        </p:nvSpPr>
        <p:spPr>
          <a:xfrm>
            <a:off x="9408250" y="1560576"/>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8" name="Google Shape;538;p35"/>
          <p:cNvSpPr txBox="1">
            <a:spLocks noGrp="1"/>
          </p:cNvSpPr>
          <p:nvPr>
            <p:ph type="body" idx="15"/>
          </p:nvPr>
        </p:nvSpPr>
        <p:spPr>
          <a:xfrm>
            <a:off x="9192768" y="2194560"/>
            <a:ext cx="15360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a:lnSpc>
                <a:spcPct val="100000"/>
              </a:lnSpc>
              <a:spcBef>
                <a:spcPts val="0"/>
              </a:spcBef>
              <a:spcAft>
                <a:spcPts val="0"/>
              </a:spcAft>
              <a:buSzPts val="800"/>
              <a:buChar char="○"/>
              <a:defRPr sz="1065"/>
            </a:lvl2pPr>
            <a:lvl3pPr marL="1825943" lvl="2" indent="-371951">
              <a:lnSpc>
                <a:spcPct val="100000"/>
              </a:lnSpc>
              <a:spcBef>
                <a:spcPts val="0"/>
              </a:spcBef>
              <a:spcAft>
                <a:spcPts val="0"/>
              </a:spcAft>
              <a:buSzPts val="800"/>
              <a:buChar char="■"/>
              <a:defRPr sz="1065"/>
            </a:lvl3pPr>
            <a:lvl4pPr marL="2434590" lvl="3" indent="-371951">
              <a:lnSpc>
                <a:spcPct val="100000"/>
              </a:lnSpc>
              <a:spcBef>
                <a:spcPts val="0"/>
              </a:spcBef>
              <a:spcAft>
                <a:spcPts val="0"/>
              </a:spcAft>
              <a:buSzPts val="800"/>
              <a:buChar char="●"/>
              <a:defRPr sz="1065"/>
            </a:lvl4pPr>
            <a:lvl5pPr marL="3043238" lvl="4" indent="-371951">
              <a:lnSpc>
                <a:spcPct val="100000"/>
              </a:lnSpc>
              <a:spcBef>
                <a:spcPts val="0"/>
              </a:spcBef>
              <a:spcAft>
                <a:spcPts val="0"/>
              </a:spcAft>
              <a:buSzPts val="800"/>
              <a:buChar char="○"/>
              <a:defRPr sz="1065"/>
            </a:lvl5pPr>
            <a:lvl6pPr marL="3651885" lvl="5" indent="-371951">
              <a:lnSpc>
                <a:spcPct val="100000"/>
              </a:lnSpc>
              <a:spcBef>
                <a:spcPts val="0"/>
              </a:spcBef>
              <a:spcAft>
                <a:spcPts val="0"/>
              </a:spcAft>
              <a:buSzPts val="800"/>
              <a:buChar char="■"/>
              <a:defRPr sz="1065"/>
            </a:lvl6pPr>
            <a:lvl7pPr marL="4260533" lvl="6" indent="-371951">
              <a:lnSpc>
                <a:spcPct val="100000"/>
              </a:lnSpc>
              <a:spcBef>
                <a:spcPts val="0"/>
              </a:spcBef>
              <a:spcAft>
                <a:spcPts val="0"/>
              </a:spcAft>
              <a:buSzPts val="800"/>
              <a:buChar char="●"/>
              <a:defRPr sz="1065"/>
            </a:lvl7pPr>
            <a:lvl8pPr marL="4869180" lvl="7" indent="-371951">
              <a:lnSpc>
                <a:spcPct val="100000"/>
              </a:lnSpc>
              <a:spcBef>
                <a:spcPts val="0"/>
              </a:spcBef>
              <a:spcAft>
                <a:spcPts val="0"/>
              </a:spcAft>
              <a:buSzPts val="800"/>
              <a:buChar char="○"/>
              <a:defRPr sz="1065"/>
            </a:lvl8pPr>
            <a:lvl9pPr marL="5477828" lvl="8" indent="-371951">
              <a:lnSpc>
                <a:spcPct val="100000"/>
              </a:lnSpc>
              <a:spcBef>
                <a:spcPts val="0"/>
              </a:spcBef>
              <a:spcAft>
                <a:spcPts val="0"/>
              </a:spcAft>
              <a:buSzPts val="800"/>
              <a:buChar char="■"/>
              <a:defRPr sz="1065"/>
            </a:lvl9pPr>
          </a:lstStyle>
          <a:p>
            <a:endParaRPr dirty="0"/>
          </a:p>
        </p:txBody>
      </p:sp>
      <p:sp>
        <p:nvSpPr>
          <p:cNvPr id="535" name="Google Shape;535;p35"/>
          <p:cNvSpPr txBox="1">
            <a:spLocks noGrp="1"/>
          </p:cNvSpPr>
          <p:nvPr>
            <p:ph type="body" idx="9"/>
          </p:nvPr>
        </p:nvSpPr>
        <p:spPr>
          <a:xfrm>
            <a:off x="9192768"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8" name="Google Shape;529;p35">
            <a:extLst>
              <a:ext uri="{FF2B5EF4-FFF2-40B4-BE49-F238E27FC236}">
                <a16:creationId xmlns:a16="http://schemas.microsoft.com/office/drawing/2014/main" id="{F69F98B3-729F-58A4-712C-0D35F0AE5418}"/>
              </a:ext>
            </a:extLst>
          </p:cNvPr>
          <p:cNvSpPr>
            <a:spLocks noGrp="1"/>
          </p:cNvSpPr>
          <p:nvPr>
            <p:ph type="pic" idx="22"/>
          </p:nvPr>
        </p:nvSpPr>
        <p:spPr>
          <a:xfrm>
            <a:off x="6790944" y="3925951"/>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9" name="Google Shape;539;p35"/>
          <p:cNvSpPr txBox="1">
            <a:spLocks noGrp="1"/>
          </p:cNvSpPr>
          <p:nvPr>
            <p:ph type="body" idx="16"/>
          </p:nvPr>
        </p:nvSpPr>
        <p:spPr>
          <a:xfrm>
            <a:off x="6583680"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6" name="Google Shape;536;p35"/>
          <p:cNvSpPr txBox="1">
            <a:spLocks noGrp="1"/>
          </p:cNvSpPr>
          <p:nvPr>
            <p:ph type="body" idx="13"/>
          </p:nvPr>
        </p:nvSpPr>
        <p:spPr>
          <a:xfrm>
            <a:off x="6608064"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9" name="Google Shape;529;p35">
            <a:extLst>
              <a:ext uri="{FF2B5EF4-FFF2-40B4-BE49-F238E27FC236}">
                <a16:creationId xmlns:a16="http://schemas.microsoft.com/office/drawing/2014/main" id="{22E7ED28-AC2C-AD47-BE45-C32830409176}"/>
              </a:ext>
            </a:extLst>
          </p:cNvPr>
          <p:cNvSpPr>
            <a:spLocks noGrp="1"/>
          </p:cNvSpPr>
          <p:nvPr>
            <p:ph type="pic" idx="23"/>
          </p:nvPr>
        </p:nvSpPr>
        <p:spPr>
          <a:xfrm>
            <a:off x="9408250" y="3925951"/>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40" name="Google Shape;540;p35"/>
          <p:cNvSpPr txBox="1">
            <a:spLocks noGrp="1"/>
          </p:cNvSpPr>
          <p:nvPr>
            <p:ph type="body" idx="17"/>
          </p:nvPr>
        </p:nvSpPr>
        <p:spPr>
          <a:xfrm>
            <a:off x="9156192"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7" name="Google Shape;537;p35"/>
          <p:cNvSpPr txBox="1">
            <a:spLocks noGrp="1"/>
          </p:cNvSpPr>
          <p:nvPr>
            <p:ph type="body" idx="14"/>
          </p:nvPr>
        </p:nvSpPr>
        <p:spPr>
          <a:xfrm>
            <a:off x="9192768"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4" name="Google Shape;268;p27">
            <a:extLst>
              <a:ext uri="{FF2B5EF4-FFF2-40B4-BE49-F238E27FC236}">
                <a16:creationId xmlns:a16="http://schemas.microsoft.com/office/drawing/2014/main" id="{2A6E29A0-D670-464E-AA55-EA5B586AC6CB}"/>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9E5BA92F-1ADB-99FD-C648-36D8C6D19C9D}"/>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84663440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matchingName="Monitor Graphic" preserve="1">
  <p:cSld name="Monitor Graphic">
    <p:spTree>
      <p:nvGrpSpPr>
        <p:cNvPr id="1" name="Shape 541"/>
        <p:cNvGrpSpPr/>
        <p:nvPr/>
      </p:nvGrpSpPr>
      <p:grpSpPr>
        <a:xfrm>
          <a:off x="0" y="0"/>
          <a:ext cx="0" cy="0"/>
          <a:chOff x="0" y="0"/>
          <a:chExt cx="0" cy="0"/>
        </a:xfrm>
      </p:grpSpPr>
      <p:grpSp>
        <p:nvGrpSpPr>
          <p:cNvPr id="2" name="Group 1">
            <a:extLst>
              <a:ext uri="{FF2B5EF4-FFF2-40B4-BE49-F238E27FC236}">
                <a16:creationId xmlns:a16="http://schemas.microsoft.com/office/drawing/2014/main" id="{BF03BAE5-7898-A7A2-D1A5-B19F83DA9EBD}"/>
              </a:ext>
              <a:ext uri="{C183D7F6-B498-43B3-948B-1728B52AA6E4}">
                <adec:decorative xmlns:adec="http://schemas.microsoft.com/office/drawing/2017/decorative" val="1"/>
              </a:ext>
            </a:extLst>
          </p:cNvPr>
          <p:cNvGrpSpPr/>
          <p:nvPr userDrawn="1"/>
        </p:nvGrpSpPr>
        <p:grpSpPr>
          <a:xfrm>
            <a:off x="-4192616" y="-532000"/>
            <a:ext cx="20633934" cy="8539200"/>
            <a:chOff x="-3144462" y="-399000"/>
            <a:chExt cx="15475450" cy="6404400"/>
          </a:xfrm>
        </p:grpSpPr>
        <p:sp>
          <p:nvSpPr>
            <p:cNvPr id="545" name="Google Shape;545;p36">
              <a:extLst>
                <a:ext uri="{C183D7F6-B498-43B3-948B-1728B52AA6E4}">
                  <adec:decorative xmlns:adec="http://schemas.microsoft.com/office/drawing/2017/decorative" val="1"/>
                </a:ext>
              </a:extLst>
            </p:cNvPr>
            <p:cNvSpPr/>
            <p:nvPr/>
          </p:nvSpPr>
          <p:spPr>
            <a:xfrm>
              <a:off x="-1994069" y="-399000"/>
              <a:ext cx="6414300" cy="6404400"/>
            </a:xfrm>
            <a:prstGeom prst="ellipse">
              <a:avLst/>
            </a:prstGeom>
            <a:gradFill>
              <a:gsLst>
                <a:gs pos="0">
                  <a:schemeClr val="accent3"/>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46" name="Google Shape;546;p36">
              <a:extLst>
                <a:ext uri="{C183D7F6-B498-43B3-948B-1728B52AA6E4}">
                  <adec:decorative xmlns:adec="http://schemas.microsoft.com/office/drawing/2017/decorative" val="1"/>
                </a:ext>
              </a:extLst>
            </p:cNvPr>
            <p:cNvCxnSpPr/>
            <p:nvPr/>
          </p:nvCxnSpPr>
          <p:spPr>
            <a:xfrm>
              <a:off x="5579309" y="896053"/>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47" name="Google Shape;547;p36">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44462" y="580234"/>
              <a:ext cx="3762369" cy="3762369"/>
            </a:xfrm>
            <a:prstGeom prst="rect">
              <a:avLst/>
            </a:prstGeom>
            <a:noFill/>
            <a:ln>
              <a:noFill/>
            </a:ln>
          </p:spPr>
        </p:pic>
        <p:pic>
          <p:nvPicPr>
            <p:cNvPr id="548" name="Google Shape;548;p36">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568619" y="580234"/>
              <a:ext cx="3762369" cy="3762369"/>
            </a:xfrm>
            <a:prstGeom prst="rect">
              <a:avLst/>
            </a:prstGeom>
            <a:noFill/>
            <a:ln>
              <a:noFill/>
            </a:ln>
          </p:spPr>
        </p:pic>
        <p:cxnSp>
          <p:nvCxnSpPr>
            <p:cNvPr id="13" name="Google Shape;67;p15">
              <a:extLst>
                <a:ext uri="{FF2B5EF4-FFF2-40B4-BE49-F238E27FC236}">
                  <a16:creationId xmlns:a16="http://schemas.microsoft.com/office/drawing/2014/main" id="{5ECC4230-B1D7-1545-A24E-C3E5EC1F8A3C}"/>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50" name="Google Shape;550;p36"/>
          <p:cNvSpPr txBox="1">
            <a:spLocks noGrp="1"/>
          </p:cNvSpPr>
          <p:nvPr>
            <p:ph type="title"/>
          </p:nvPr>
        </p:nvSpPr>
        <p:spPr>
          <a:xfrm>
            <a:off x="7388352" y="1584960"/>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549" name="Google Shape;549;p36"/>
          <p:cNvSpPr txBox="1">
            <a:spLocks noGrp="1"/>
          </p:cNvSpPr>
          <p:nvPr>
            <p:ph type="subTitle" idx="1"/>
          </p:nvPr>
        </p:nvSpPr>
        <p:spPr>
          <a:xfrm>
            <a:off x="7388352" y="938784"/>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51" name="Google Shape;551;p36"/>
          <p:cNvSpPr txBox="1">
            <a:spLocks noGrp="1"/>
          </p:cNvSpPr>
          <p:nvPr>
            <p:ph type="body" idx="2"/>
          </p:nvPr>
        </p:nvSpPr>
        <p:spPr>
          <a:xfrm>
            <a:off x="7388352" y="3389376"/>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2" name="Google Shape;268;p27">
            <a:extLst>
              <a:ext uri="{FF2B5EF4-FFF2-40B4-BE49-F238E27FC236}">
                <a16:creationId xmlns:a16="http://schemas.microsoft.com/office/drawing/2014/main" id="{268F1A49-11B7-8F40-B03E-43CCD03FF414}"/>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01A97538-6AA1-9E0E-CA0F-581D3693EECF}"/>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9595083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matchingName="Left-side Copy" preserve="1">
  <p:cSld name="Left-side Copy">
    <p:spTree>
      <p:nvGrpSpPr>
        <p:cNvPr id="1" name="Shape 552"/>
        <p:cNvGrpSpPr/>
        <p:nvPr/>
      </p:nvGrpSpPr>
      <p:grpSpPr>
        <a:xfrm>
          <a:off x="0" y="0"/>
          <a:ext cx="0" cy="0"/>
          <a:chOff x="0" y="0"/>
          <a:chExt cx="0" cy="0"/>
        </a:xfrm>
      </p:grpSpPr>
      <p:grpSp>
        <p:nvGrpSpPr>
          <p:cNvPr id="2" name="Group 1">
            <a:extLst>
              <a:ext uri="{FF2B5EF4-FFF2-40B4-BE49-F238E27FC236}">
                <a16:creationId xmlns:a16="http://schemas.microsoft.com/office/drawing/2014/main" id="{6826CC8A-2169-C1C2-F991-0F061299EE93}"/>
              </a:ext>
              <a:ext uri="{C183D7F6-B498-43B3-948B-1728B52AA6E4}">
                <adec:decorative xmlns:adec="http://schemas.microsoft.com/office/drawing/2017/decorative" val="1"/>
              </a:ext>
            </a:extLst>
          </p:cNvPr>
          <p:cNvGrpSpPr/>
          <p:nvPr userDrawn="1"/>
        </p:nvGrpSpPr>
        <p:grpSpPr>
          <a:xfrm>
            <a:off x="-4192616" y="773647"/>
            <a:ext cx="18277464" cy="5603569"/>
            <a:chOff x="-3144462" y="580234"/>
            <a:chExt cx="13708098" cy="4202677"/>
          </a:xfrm>
        </p:grpSpPr>
        <p:sp>
          <p:nvSpPr>
            <p:cNvPr id="556" name="Google Shape;556;p37">
              <a:extLst>
                <a:ext uri="{C183D7F6-B498-43B3-948B-1728B52AA6E4}">
                  <adec:decorative xmlns:adec="http://schemas.microsoft.com/office/drawing/2017/decorative" val="1"/>
                </a:ext>
              </a:extLst>
            </p:cNvPr>
            <p:cNvSpPr/>
            <p:nvPr/>
          </p:nvSpPr>
          <p:spPr>
            <a:xfrm>
              <a:off x="6071966" y="1395327"/>
              <a:ext cx="1363500" cy="1008900"/>
            </a:xfrm>
            <a:prstGeom prst="roundRect">
              <a:avLst>
                <a:gd name="adj" fmla="val 6753"/>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57" name="Google Shape;557;p37">
              <a:extLst>
                <a:ext uri="{C183D7F6-B498-43B3-948B-1728B52AA6E4}">
                  <adec:decorative xmlns:adec="http://schemas.microsoft.com/office/drawing/2017/decorative" val="1"/>
                </a:ext>
              </a:extLst>
            </p:cNvPr>
            <p:cNvSpPr/>
            <p:nvPr/>
          </p:nvSpPr>
          <p:spPr>
            <a:xfrm>
              <a:off x="4886802" y="2954245"/>
              <a:ext cx="996600" cy="737400"/>
            </a:xfrm>
            <a:prstGeom prst="roundRect">
              <a:avLst>
                <a:gd name="adj" fmla="val 6753"/>
              </a:avLst>
            </a:prstGeom>
            <a:gradFill>
              <a:gsLst>
                <a:gs pos="0">
                  <a:srgbClr val="9477E2"/>
                </a:gs>
                <a:gs pos="100000">
                  <a:srgbClr val="9477E2">
                    <a:alpha val="0"/>
                  </a:srgbClr>
                </a:gs>
              </a:gsLst>
              <a:lin ang="2700006"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558" name="Google Shape;558;p37">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59" name="Google Shape;559;p3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44462" y="580234"/>
              <a:ext cx="3762369" cy="3762369"/>
            </a:xfrm>
            <a:prstGeom prst="rect">
              <a:avLst/>
            </a:prstGeom>
            <a:noFill/>
            <a:ln>
              <a:noFill/>
            </a:ln>
          </p:spPr>
        </p:pic>
        <p:pic>
          <p:nvPicPr>
            <p:cNvPr id="560" name="Google Shape;560;p3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801267" y="580234"/>
              <a:ext cx="3762369" cy="3762369"/>
            </a:xfrm>
            <a:prstGeom prst="rect">
              <a:avLst/>
            </a:prstGeom>
            <a:noFill/>
            <a:ln>
              <a:noFill/>
            </a:ln>
          </p:spPr>
        </p:pic>
        <p:cxnSp>
          <p:nvCxnSpPr>
            <p:cNvPr id="14" name="Google Shape;67;p15">
              <a:extLst>
                <a:ext uri="{FF2B5EF4-FFF2-40B4-BE49-F238E27FC236}">
                  <a16:creationId xmlns:a16="http://schemas.microsoft.com/office/drawing/2014/main" id="{B560FB97-8D77-9349-A3B4-AF64D75E5332}"/>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62" name="Google Shape;562;p37"/>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61" name="Google Shape;561;p37"/>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lnSpc>
                <a:spcPct val="100000"/>
              </a:lnSpc>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563" name="Google Shape;563;p37"/>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13" name="Google Shape;268;p27">
            <a:extLst>
              <a:ext uri="{FF2B5EF4-FFF2-40B4-BE49-F238E27FC236}">
                <a16:creationId xmlns:a16="http://schemas.microsoft.com/office/drawing/2014/main" id="{4E669A2D-7E59-9049-9F3F-0BD200EFF36C}"/>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8D941120-C5EC-CC0D-73E9-7FCE4C5ECCD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5495783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Four Features - Bottom" preserve="1" userDrawn="1">
  <p:cSld name="Four Features - Bottom">
    <p:spTree>
      <p:nvGrpSpPr>
        <p:cNvPr id="1" name="Shape 564"/>
        <p:cNvGrpSpPr/>
        <p:nvPr/>
      </p:nvGrpSpPr>
      <p:grpSpPr>
        <a:xfrm>
          <a:off x="0" y="0"/>
          <a:ext cx="0" cy="0"/>
          <a:chOff x="0" y="0"/>
          <a:chExt cx="0" cy="0"/>
        </a:xfrm>
      </p:grpSpPr>
      <p:grpSp>
        <p:nvGrpSpPr>
          <p:cNvPr id="3" name="Group 2">
            <a:extLst>
              <a:ext uri="{FF2B5EF4-FFF2-40B4-BE49-F238E27FC236}">
                <a16:creationId xmlns:a16="http://schemas.microsoft.com/office/drawing/2014/main" id="{EC6DA645-FC1C-E3FE-5DCA-858CD8798D3A}"/>
              </a:ext>
              <a:ext uri="{C183D7F6-B498-43B3-948B-1728B52AA6E4}">
                <adec:decorative xmlns:adec="http://schemas.microsoft.com/office/drawing/2017/decorative" val="1"/>
              </a:ext>
            </a:extLst>
          </p:cNvPr>
          <p:cNvGrpSpPr/>
          <p:nvPr userDrawn="1"/>
        </p:nvGrpSpPr>
        <p:grpSpPr>
          <a:xfrm>
            <a:off x="-4225468" y="-2535898"/>
            <a:ext cx="20395564" cy="8913113"/>
            <a:chOff x="-3169102" y="-1901924"/>
            <a:chExt cx="15296673" cy="6684835"/>
          </a:xfrm>
        </p:grpSpPr>
        <p:cxnSp>
          <p:nvCxnSpPr>
            <p:cNvPr id="572" name="Google Shape;572;p38">
              <a:extLst>
                <a:ext uri="{C183D7F6-B498-43B3-948B-1728B52AA6E4}">
                  <adec:decorative xmlns:adec="http://schemas.microsoft.com/office/drawing/2017/decorative" val="1"/>
                </a:ext>
              </a:extLst>
            </p:cNvPr>
            <p:cNvCxnSpPr/>
            <p:nvPr/>
          </p:nvCxnSpPr>
          <p:spPr>
            <a:xfrm>
              <a:off x="630203"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76FFB995-1AC2-92C8-CB79-0E6080742B7C}"/>
                </a:ext>
                <a:ext uri="{C183D7F6-B498-43B3-948B-1728B52AA6E4}">
                  <adec:decorative xmlns:adec="http://schemas.microsoft.com/office/drawing/2017/decorative" val="1"/>
                </a:ext>
              </a:extLst>
            </p:cNvPr>
            <p:cNvGrpSpPr/>
            <p:nvPr userDrawn="1"/>
          </p:nvGrpSpPr>
          <p:grpSpPr>
            <a:xfrm>
              <a:off x="-3169102" y="-1901924"/>
              <a:ext cx="15296673" cy="6684835"/>
              <a:chOff x="-3169102" y="-1901924"/>
              <a:chExt cx="15296673" cy="6684835"/>
            </a:xfrm>
          </p:grpSpPr>
          <p:sp>
            <p:nvSpPr>
              <p:cNvPr id="568" name="Google Shape;568;p38">
                <a:extLst>
                  <a:ext uri="{C183D7F6-B498-43B3-948B-1728B52AA6E4}">
                    <adec:decorative xmlns:adec="http://schemas.microsoft.com/office/drawing/2017/decorative" val="1"/>
                  </a:ext>
                </a:extLst>
              </p:cNvPr>
              <p:cNvSpPr/>
              <p:nvPr/>
            </p:nvSpPr>
            <p:spPr>
              <a:xfrm>
                <a:off x="873365" y="2363101"/>
                <a:ext cx="1515900" cy="678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69" name="Google Shape;569;p38">
                <a:extLst>
                  <a:ext uri="{C183D7F6-B498-43B3-948B-1728B52AA6E4}">
                    <adec:decorative xmlns:adec="http://schemas.microsoft.com/office/drawing/2017/decorative" val="1"/>
                  </a:ext>
                </a:extLst>
              </p:cNvPr>
              <p:cNvSpPr/>
              <p:nvPr/>
            </p:nvSpPr>
            <p:spPr>
              <a:xfrm>
                <a:off x="2805017" y="2363101"/>
                <a:ext cx="1515900" cy="67800"/>
              </a:xfrm>
              <a:prstGeom prst="rect">
                <a:avLst/>
              </a:prstGeom>
              <a:gradFill>
                <a:gsLst>
                  <a:gs pos="0">
                    <a:srgbClr val="9477E2"/>
                  </a:gs>
                  <a:gs pos="100000">
                    <a:srgbClr val="5C30D3"/>
                  </a:gs>
                </a:gsLst>
                <a:lin ang="0"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570" name="Google Shape;570;p38">
                <a:extLst>
                  <a:ext uri="{C183D7F6-B498-43B3-948B-1728B52AA6E4}">
                    <adec:decorative xmlns:adec="http://schemas.microsoft.com/office/drawing/2017/decorative" val="1"/>
                  </a:ext>
                </a:extLst>
              </p:cNvPr>
              <p:cNvSpPr/>
              <p:nvPr/>
            </p:nvSpPr>
            <p:spPr>
              <a:xfrm>
                <a:off x="4736670" y="2363101"/>
                <a:ext cx="1515900" cy="67800"/>
              </a:xfrm>
              <a:prstGeom prst="rect">
                <a:avLst/>
              </a:prstGeom>
              <a:gradFill>
                <a:gsLst>
                  <a:gs pos="0">
                    <a:schemeClr val="accent3"/>
                  </a:gs>
                  <a:gs pos="100000">
                    <a:srgbClr val="0070C0"/>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71" name="Google Shape;571;p38">
                <a:extLst>
                  <a:ext uri="{C183D7F6-B498-43B3-948B-1728B52AA6E4}">
                    <adec:decorative xmlns:adec="http://schemas.microsoft.com/office/drawing/2017/decorative" val="1"/>
                  </a:ext>
                </a:extLst>
              </p:cNvPr>
              <p:cNvSpPr/>
              <p:nvPr/>
            </p:nvSpPr>
            <p:spPr>
              <a:xfrm>
                <a:off x="6668322" y="2363101"/>
                <a:ext cx="1515900" cy="67800"/>
              </a:xfrm>
              <a:prstGeom prst="rect">
                <a:avLst/>
              </a:prstGeom>
              <a:gradFill>
                <a:gsLst>
                  <a:gs pos="0">
                    <a:srgbClr val="0070C0"/>
                  </a:gs>
                  <a:gs pos="2000">
                    <a:srgbClr val="0070C0"/>
                  </a:gs>
                  <a:gs pos="100000">
                    <a:srgbClr val="1098B3"/>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73" name="Google Shape;573;p38">
                <a:extLst>
                  <a:ext uri="{C183D7F6-B498-43B3-948B-1728B52AA6E4}">
                    <adec:decorative xmlns:adec="http://schemas.microsoft.com/office/drawing/2017/decorative" val="1"/>
                  </a:ext>
                </a:extLst>
              </p:cNvPr>
              <p:cNvCxnSpPr/>
              <p:nvPr/>
            </p:nvCxnSpPr>
            <p:spPr>
              <a:xfrm>
                <a:off x="2557387"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cxnSp>
            <p:nvCxnSpPr>
              <p:cNvPr id="574" name="Google Shape;574;p38">
                <a:extLst>
                  <a:ext uri="{C183D7F6-B498-43B3-948B-1728B52AA6E4}">
                    <adec:decorative xmlns:adec="http://schemas.microsoft.com/office/drawing/2017/decorative" val="1"/>
                  </a:ext>
                </a:extLst>
              </p:cNvPr>
              <p:cNvCxnSpPr/>
              <p:nvPr/>
            </p:nvCxnSpPr>
            <p:spPr>
              <a:xfrm>
                <a:off x="4470724"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cxnSp>
            <p:nvCxnSpPr>
              <p:cNvPr id="575" name="Google Shape;575;p38">
                <a:extLst>
                  <a:ext uri="{C183D7F6-B498-43B3-948B-1728B52AA6E4}">
                    <adec:decorative xmlns:adec="http://schemas.microsoft.com/office/drawing/2017/decorative" val="1"/>
                  </a:ext>
                </a:extLst>
              </p:cNvPr>
              <p:cNvCxnSpPr/>
              <p:nvPr/>
            </p:nvCxnSpPr>
            <p:spPr>
              <a:xfrm>
                <a:off x="6425604"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pic>
            <p:nvPicPr>
              <p:cNvPr id="576" name="Google Shape;576;p3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580234"/>
                <a:ext cx="3762369" cy="3762369"/>
              </a:xfrm>
              <a:prstGeom prst="rect">
                <a:avLst/>
              </a:prstGeom>
              <a:noFill/>
              <a:ln>
                <a:noFill/>
              </a:ln>
            </p:spPr>
          </p:pic>
          <p:cxnSp>
            <p:nvCxnSpPr>
              <p:cNvPr id="577" name="Google Shape;577;p38">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78" name="Google Shape;578;p3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69102" y="-1901924"/>
                <a:ext cx="3762369" cy="3762369"/>
              </a:xfrm>
              <a:prstGeom prst="rect">
                <a:avLst/>
              </a:prstGeom>
              <a:noFill/>
              <a:ln>
                <a:noFill/>
              </a:ln>
            </p:spPr>
          </p:pic>
          <p:cxnSp>
            <p:nvCxnSpPr>
              <p:cNvPr id="35" name="Google Shape;67;p15">
                <a:extLst>
                  <a:ext uri="{FF2B5EF4-FFF2-40B4-BE49-F238E27FC236}">
                    <a16:creationId xmlns:a16="http://schemas.microsoft.com/office/drawing/2014/main" id="{1C406079-9924-AB4F-BE36-22D2C3846BDD}"/>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grpSp>
      <p:sp>
        <p:nvSpPr>
          <p:cNvPr id="580" name="Google Shape;580;p38"/>
          <p:cNvSpPr txBox="1">
            <a:spLocks noGrp="1"/>
          </p:cNvSpPr>
          <p:nvPr>
            <p:ph type="title"/>
          </p:nvPr>
        </p:nvSpPr>
        <p:spPr>
          <a:xfrm>
            <a:off x="1072896" y="1377696"/>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79" name="Google Shape;579;p3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81" name="Google Shape;581;p38"/>
          <p:cNvSpPr txBox="1">
            <a:spLocks noGrp="1"/>
          </p:cNvSpPr>
          <p:nvPr>
            <p:ph type="body" idx="2"/>
          </p:nvPr>
        </p:nvSpPr>
        <p:spPr>
          <a:xfrm>
            <a:off x="5254752" y="1487424"/>
            <a:ext cx="4047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590" name="Google Shape;590;p38"/>
          <p:cNvSpPr>
            <a:spLocks noGrp="1"/>
          </p:cNvSpPr>
          <p:nvPr>
            <p:ph type="pic" idx="14"/>
          </p:nvPr>
        </p:nvSpPr>
        <p:spPr>
          <a:xfrm>
            <a:off x="1170432"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6" name="Google Shape;586;p38"/>
          <p:cNvSpPr txBox="1">
            <a:spLocks noGrp="1"/>
          </p:cNvSpPr>
          <p:nvPr>
            <p:ph type="subTitle" idx="7"/>
          </p:nvPr>
        </p:nvSpPr>
        <p:spPr>
          <a:xfrm>
            <a:off x="2194560" y="3706368"/>
            <a:ext cx="1012000" cy="231600"/>
          </a:xfrm>
          <a:prstGeom prst="rect">
            <a:avLst/>
          </a:prstGeom>
        </p:spPr>
        <p:txBody>
          <a:bodyPr spcFirstLastPara="1" wrap="square" lIns="45700" tIns="18275" rIns="45700" bIns="18275" anchor="t" anchorCtr="0">
            <a:noAutofit/>
          </a:bodyPr>
          <a:lstStyle>
            <a:lvl1pPr marL="0" lvl="0" indent="0">
              <a:spcBef>
                <a:spcPts val="0"/>
              </a:spcBef>
              <a:spcAft>
                <a:spcPts val="0"/>
              </a:spcAft>
              <a:buClr>
                <a:schemeClr val="lt1"/>
              </a:buClr>
              <a:buSzPts val="800"/>
              <a:buNone/>
              <a:defRPr sz="1065" b="1" i="0">
                <a:solidFill>
                  <a:schemeClr val="lt1"/>
                </a:solidFill>
                <a:latin typeface="Helvetica" pitchFamily="2" charset="0"/>
              </a:defRPr>
            </a:lvl1pPr>
            <a:lvl2pPr lvl="1">
              <a:spcBef>
                <a:spcPts val="0"/>
              </a:spcBef>
              <a:spcAft>
                <a:spcPts val="0"/>
              </a:spcAft>
              <a:buClr>
                <a:schemeClr val="lt1"/>
              </a:buClr>
              <a:buSzPts val="800"/>
              <a:buNone/>
              <a:defRPr sz="1065">
                <a:solidFill>
                  <a:schemeClr val="lt1"/>
                </a:solidFill>
              </a:defRPr>
            </a:lvl2pPr>
            <a:lvl3pPr lvl="2">
              <a:spcBef>
                <a:spcPts val="0"/>
              </a:spcBef>
              <a:spcAft>
                <a:spcPts val="0"/>
              </a:spcAft>
              <a:buClr>
                <a:schemeClr val="lt1"/>
              </a:buClr>
              <a:buSzPts val="800"/>
              <a:buNone/>
              <a:defRPr sz="1065">
                <a:solidFill>
                  <a:schemeClr val="lt1"/>
                </a:solidFill>
              </a:defRPr>
            </a:lvl3pPr>
            <a:lvl4pPr lvl="3">
              <a:spcBef>
                <a:spcPts val="0"/>
              </a:spcBef>
              <a:spcAft>
                <a:spcPts val="0"/>
              </a:spcAft>
              <a:buClr>
                <a:schemeClr val="lt1"/>
              </a:buClr>
              <a:buSzPts val="800"/>
              <a:buNone/>
              <a:defRPr sz="1065">
                <a:solidFill>
                  <a:schemeClr val="lt1"/>
                </a:solidFill>
              </a:defRPr>
            </a:lvl4pPr>
            <a:lvl5pPr lvl="4">
              <a:spcBef>
                <a:spcPts val="0"/>
              </a:spcBef>
              <a:spcAft>
                <a:spcPts val="0"/>
              </a:spcAft>
              <a:buClr>
                <a:schemeClr val="lt1"/>
              </a:buClr>
              <a:buSzPts val="800"/>
              <a:buNone/>
              <a:defRPr sz="1065">
                <a:solidFill>
                  <a:schemeClr val="lt1"/>
                </a:solidFill>
              </a:defRPr>
            </a:lvl5pPr>
            <a:lvl6pPr lvl="5">
              <a:spcBef>
                <a:spcPts val="0"/>
              </a:spcBef>
              <a:spcAft>
                <a:spcPts val="0"/>
              </a:spcAft>
              <a:buClr>
                <a:schemeClr val="lt1"/>
              </a:buClr>
              <a:buSzPts val="800"/>
              <a:buNone/>
              <a:defRPr sz="1065">
                <a:solidFill>
                  <a:schemeClr val="lt1"/>
                </a:solidFill>
              </a:defRPr>
            </a:lvl6pPr>
            <a:lvl7pPr lvl="6">
              <a:spcBef>
                <a:spcPts val="0"/>
              </a:spcBef>
              <a:spcAft>
                <a:spcPts val="0"/>
              </a:spcAft>
              <a:buClr>
                <a:schemeClr val="lt1"/>
              </a:buClr>
              <a:buSzPts val="800"/>
              <a:buNone/>
              <a:defRPr sz="1065">
                <a:solidFill>
                  <a:schemeClr val="lt1"/>
                </a:solidFill>
              </a:defRPr>
            </a:lvl7pPr>
            <a:lvl8pPr lvl="7">
              <a:spcBef>
                <a:spcPts val="0"/>
              </a:spcBef>
              <a:spcAft>
                <a:spcPts val="0"/>
              </a:spcAft>
              <a:buClr>
                <a:schemeClr val="lt1"/>
              </a:buClr>
              <a:buSzPts val="800"/>
              <a:buNone/>
              <a:defRPr sz="1065">
                <a:solidFill>
                  <a:schemeClr val="lt1"/>
                </a:solidFill>
              </a:defRPr>
            </a:lvl8pPr>
            <a:lvl9pPr lvl="8">
              <a:spcBef>
                <a:spcPts val="0"/>
              </a:spcBef>
              <a:spcAft>
                <a:spcPts val="0"/>
              </a:spcAft>
              <a:buClr>
                <a:schemeClr val="lt1"/>
              </a:buClr>
              <a:buSzPts val="800"/>
              <a:buNone/>
              <a:defRPr sz="1065">
                <a:solidFill>
                  <a:schemeClr val="lt1"/>
                </a:solidFill>
              </a:defRPr>
            </a:lvl9pPr>
          </a:lstStyle>
          <a:p>
            <a:endParaRPr dirty="0"/>
          </a:p>
        </p:txBody>
      </p:sp>
      <p:sp>
        <p:nvSpPr>
          <p:cNvPr id="582" name="Google Shape;582;p38"/>
          <p:cNvSpPr txBox="1">
            <a:spLocks noGrp="1"/>
          </p:cNvSpPr>
          <p:nvPr>
            <p:ph type="body" idx="3"/>
          </p:nvPr>
        </p:nvSpPr>
        <p:spPr>
          <a:xfrm>
            <a:off x="1170432"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 name="Google Shape;590;p38">
            <a:extLst>
              <a:ext uri="{FF2B5EF4-FFF2-40B4-BE49-F238E27FC236}">
                <a16:creationId xmlns:a16="http://schemas.microsoft.com/office/drawing/2014/main" id="{2C3D5224-D6CC-3846-AA09-356860C31786}"/>
              </a:ext>
            </a:extLst>
          </p:cNvPr>
          <p:cNvSpPr>
            <a:spLocks noGrp="1"/>
          </p:cNvSpPr>
          <p:nvPr>
            <p:ph type="pic" idx="15"/>
          </p:nvPr>
        </p:nvSpPr>
        <p:spPr>
          <a:xfrm>
            <a:off x="3742944"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7" name="Google Shape;587;p38"/>
          <p:cNvSpPr txBox="1">
            <a:spLocks noGrp="1"/>
          </p:cNvSpPr>
          <p:nvPr>
            <p:ph type="subTitle" idx="8"/>
          </p:nvPr>
        </p:nvSpPr>
        <p:spPr>
          <a:xfrm>
            <a:off x="476707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3" name="Google Shape;583;p38"/>
          <p:cNvSpPr txBox="1">
            <a:spLocks noGrp="1"/>
          </p:cNvSpPr>
          <p:nvPr>
            <p:ph type="body" idx="4"/>
          </p:nvPr>
        </p:nvSpPr>
        <p:spPr>
          <a:xfrm>
            <a:off x="3742944"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2" name="Google Shape;590;p38">
            <a:extLst>
              <a:ext uri="{FF2B5EF4-FFF2-40B4-BE49-F238E27FC236}">
                <a16:creationId xmlns:a16="http://schemas.microsoft.com/office/drawing/2014/main" id="{BEAD86EF-61D2-F442-9F95-4C0EE4385E46}"/>
              </a:ext>
            </a:extLst>
          </p:cNvPr>
          <p:cNvSpPr>
            <a:spLocks noGrp="1"/>
          </p:cNvSpPr>
          <p:nvPr>
            <p:ph type="pic" idx="16"/>
          </p:nvPr>
        </p:nvSpPr>
        <p:spPr>
          <a:xfrm>
            <a:off x="6266688"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8" name="Google Shape;588;p38"/>
          <p:cNvSpPr txBox="1">
            <a:spLocks noGrp="1"/>
          </p:cNvSpPr>
          <p:nvPr>
            <p:ph type="subTitle" idx="9"/>
          </p:nvPr>
        </p:nvSpPr>
        <p:spPr>
          <a:xfrm>
            <a:off x="732739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4" name="Google Shape;584;p38"/>
          <p:cNvSpPr txBox="1">
            <a:spLocks noGrp="1"/>
          </p:cNvSpPr>
          <p:nvPr>
            <p:ph type="body" idx="5"/>
          </p:nvPr>
        </p:nvSpPr>
        <p:spPr>
          <a:xfrm>
            <a:off x="626668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3" name="Google Shape;590;p38">
            <a:extLst>
              <a:ext uri="{FF2B5EF4-FFF2-40B4-BE49-F238E27FC236}">
                <a16:creationId xmlns:a16="http://schemas.microsoft.com/office/drawing/2014/main" id="{4979726F-DCA6-4C48-B0E4-43DF0E5998B1}"/>
              </a:ext>
            </a:extLst>
          </p:cNvPr>
          <p:cNvSpPr>
            <a:spLocks noGrp="1"/>
          </p:cNvSpPr>
          <p:nvPr>
            <p:ph type="pic" idx="17"/>
          </p:nvPr>
        </p:nvSpPr>
        <p:spPr>
          <a:xfrm>
            <a:off x="8887968"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9" name="Google Shape;589;p38"/>
          <p:cNvSpPr txBox="1">
            <a:spLocks noGrp="1"/>
          </p:cNvSpPr>
          <p:nvPr>
            <p:ph type="subTitle" idx="13"/>
          </p:nvPr>
        </p:nvSpPr>
        <p:spPr>
          <a:xfrm>
            <a:off x="9899904"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5" name="Google Shape;585;p38"/>
          <p:cNvSpPr txBox="1">
            <a:spLocks noGrp="1"/>
          </p:cNvSpPr>
          <p:nvPr>
            <p:ph type="body" idx="6"/>
          </p:nvPr>
        </p:nvSpPr>
        <p:spPr>
          <a:xfrm>
            <a:off x="888796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4" name="Google Shape;268;p27">
            <a:extLst>
              <a:ext uri="{FF2B5EF4-FFF2-40B4-BE49-F238E27FC236}">
                <a16:creationId xmlns:a16="http://schemas.microsoft.com/office/drawing/2014/main" id="{928080BF-F9DA-2E4C-A63D-D9BE35945435}"/>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0D5E0013-1CA4-5182-42FD-75D35EE4664C}"/>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4086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0" name="Arrow: Pentagon 44">
            <a:extLst>
              <a:ext uri="{FF2B5EF4-FFF2-40B4-BE49-F238E27FC236}">
                <a16:creationId xmlns:a16="http://schemas.microsoft.com/office/drawing/2014/main" id="{8DB1A74A-CEE5-B865-5C91-B0166C7286D7}"/>
              </a:ext>
            </a:extLst>
          </p:cNvPr>
          <p:cNvSpPr/>
          <p:nvPr userDrawn="1"/>
        </p:nvSpPr>
        <p:spPr bwMode="auto">
          <a:xfrm>
            <a:off x="0" y="0"/>
            <a:ext cx="6409564" cy="6858000"/>
          </a:xfrm>
          <a:prstGeom prst="homePlate">
            <a:avLst>
              <a:gd name="adj" fmla="val 27471"/>
            </a:avLst>
          </a:prstGeom>
          <a:solidFill>
            <a:schemeClr val="bg1"/>
          </a:solidFill>
          <a:ln>
            <a:noFill/>
            <a:headEnd type="none" w="med" len="med"/>
            <a:tailEnd type="none" w="med" len="med"/>
          </a:ln>
          <a:effectLst>
            <a:outerShdw blurRad="295671" sx="98669" sy="98669" algn="ctr" rotWithShape="0">
              <a:prstClr val="black">
                <a:alpha val="15000"/>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12" name="MS logo gray - EMF" descr="Microsoft logo, gray text version">
            <a:extLst>
              <a:ext uri="{FF2B5EF4-FFF2-40B4-BE49-F238E27FC236}">
                <a16:creationId xmlns:a16="http://schemas.microsoft.com/office/drawing/2014/main" id="{C2F16BF7-7F8E-9412-8FD7-4069676C58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4" name="Footer Placeholder 3">
            <a:extLst>
              <a:ext uri="{FF2B5EF4-FFF2-40B4-BE49-F238E27FC236}">
                <a16:creationId xmlns:a16="http://schemas.microsoft.com/office/drawing/2014/main" id="{CED92B98-BE71-EF7A-C525-2F4E1AAE5F0A}"/>
              </a:ext>
            </a:extLst>
          </p:cNvPr>
          <p:cNvSpPr>
            <a:spLocks noGrp="1"/>
          </p:cNvSpPr>
          <p:nvPr>
            <p:ph type="ftr" sz="quarter" idx="12"/>
          </p:nvPr>
        </p:nvSpPr>
        <p:spPr/>
        <p:txBody>
          <a:bodyPr/>
          <a:lstStyle/>
          <a:p>
            <a:r>
              <a:rPr lang="en-US"/>
              <a:t>Microsoft Confidential</a:t>
            </a:r>
          </a:p>
        </p:txBody>
      </p:sp>
      <p:sp>
        <p:nvSpPr>
          <p:cNvPr id="9" name="Text Placeholder 2">
            <a:extLst>
              <a:ext uri="{FF2B5EF4-FFF2-40B4-BE49-F238E27FC236}">
                <a16:creationId xmlns:a16="http://schemas.microsoft.com/office/drawing/2014/main" id="{3716366F-24AB-0AB2-1682-DED458803E9A}"/>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26713FEE-9C26-1A8C-1DE8-14729D74C07D}"/>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Text Placeholder 9">
            <a:extLst>
              <a:ext uri="{FF2B5EF4-FFF2-40B4-BE49-F238E27FC236}">
                <a16:creationId xmlns:a16="http://schemas.microsoft.com/office/drawing/2014/main" id="{93CE9535-0F1B-F6F0-1BB7-38A4E0D56456}"/>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877979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matchingName="Right-Side Copy" preserve="1">
  <p:cSld name="Right-Side Copy">
    <p:spTree>
      <p:nvGrpSpPr>
        <p:cNvPr id="1" name="Shape 594"/>
        <p:cNvGrpSpPr/>
        <p:nvPr/>
      </p:nvGrpSpPr>
      <p:grpSpPr>
        <a:xfrm>
          <a:off x="0" y="0"/>
          <a:ext cx="0" cy="0"/>
          <a:chOff x="0" y="0"/>
          <a:chExt cx="0" cy="0"/>
        </a:xfrm>
      </p:grpSpPr>
      <p:grpSp>
        <p:nvGrpSpPr>
          <p:cNvPr id="2" name="Group 1">
            <a:extLst>
              <a:ext uri="{FF2B5EF4-FFF2-40B4-BE49-F238E27FC236}">
                <a16:creationId xmlns:a16="http://schemas.microsoft.com/office/drawing/2014/main" id="{F2D515E8-7154-2EDF-C4E8-77D5DEFB17FA}"/>
              </a:ext>
              <a:ext uri="{C183D7F6-B498-43B3-948B-1728B52AA6E4}">
                <adec:decorative xmlns:adec="http://schemas.microsoft.com/office/drawing/2017/decorative" val="1"/>
              </a:ext>
            </a:extLst>
          </p:cNvPr>
          <p:cNvGrpSpPr/>
          <p:nvPr userDrawn="1"/>
        </p:nvGrpSpPr>
        <p:grpSpPr>
          <a:xfrm>
            <a:off x="-6206732" y="-1465367"/>
            <a:ext cx="18397804" cy="9788731"/>
            <a:chOff x="-4655050" y="-1099025"/>
            <a:chExt cx="13798353" cy="7341548"/>
          </a:xfrm>
        </p:grpSpPr>
        <p:cxnSp>
          <p:nvCxnSpPr>
            <p:cNvPr id="13" name="Google Shape;67;p15">
              <a:extLst>
                <a:ext uri="{FF2B5EF4-FFF2-40B4-BE49-F238E27FC236}">
                  <a16:creationId xmlns:a16="http://schemas.microsoft.com/office/drawing/2014/main" id="{F9E1473B-9611-444E-B16A-C1BD19C6ECA1}"/>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598" name="Google Shape;598;p39">
              <a:extLst>
                <a:ext uri="{C183D7F6-B498-43B3-948B-1728B52AA6E4}">
                  <adec:decorative xmlns:adec="http://schemas.microsoft.com/office/drawing/2017/decorative" val="1"/>
                </a:ext>
              </a:extLst>
            </p:cNvPr>
            <p:cNvPicPr preferRelativeResize="0"/>
            <p:nvPr/>
          </p:nvPicPr>
          <p:blipFill>
            <a:blip r:embed="rId2">
              <a:alphaModFix/>
            </a:blip>
            <a:stretch>
              <a:fillRect/>
            </a:stretch>
          </p:blipFill>
          <p:spPr>
            <a:xfrm>
              <a:off x="-4655050" y="-1099025"/>
              <a:ext cx="7341548" cy="7341548"/>
            </a:xfrm>
            <a:prstGeom prst="rect">
              <a:avLst/>
            </a:prstGeom>
            <a:noFill/>
            <a:ln>
              <a:noFill/>
            </a:ln>
          </p:spPr>
        </p:pic>
        <p:pic>
          <p:nvPicPr>
            <p:cNvPr id="599" name="Google Shape;599;p39">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20597" y="690565"/>
              <a:ext cx="3762369" cy="3762369"/>
            </a:xfrm>
            <a:prstGeom prst="rect">
              <a:avLst/>
            </a:prstGeom>
            <a:noFill/>
            <a:ln>
              <a:noFill/>
            </a:ln>
          </p:spPr>
        </p:pic>
        <p:pic>
          <p:nvPicPr>
            <p:cNvPr id="600" name="Google Shape;600;p39">
              <a:extLst>
                <a:ext uri="{C183D7F6-B498-43B3-948B-1728B52AA6E4}">
                  <adec:decorative xmlns:adec="http://schemas.microsoft.com/office/drawing/2017/decorative" val="1"/>
                </a:ext>
              </a:extLst>
            </p:cNvPr>
            <p:cNvPicPr preferRelativeResize="0"/>
            <p:nvPr/>
          </p:nvPicPr>
          <p:blipFill>
            <a:blip r:embed="rId4">
              <a:alphaModFix/>
            </a:blip>
            <a:stretch>
              <a:fillRect/>
            </a:stretch>
          </p:blipFill>
          <p:spPr>
            <a:xfrm>
              <a:off x="1959275" y="313900"/>
              <a:ext cx="1847725" cy="1847725"/>
            </a:xfrm>
            <a:prstGeom prst="rect">
              <a:avLst/>
            </a:prstGeom>
            <a:noFill/>
            <a:ln>
              <a:noFill/>
            </a:ln>
          </p:spPr>
        </p:pic>
        <p:cxnSp>
          <p:nvCxnSpPr>
            <p:cNvPr id="601" name="Google Shape;601;p39">
              <a:extLst>
                <a:ext uri="{C183D7F6-B498-43B3-948B-1728B52AA6E4}">
                  <adec:decorative xmlns:adec="http://schemas.microsoft.com/office/drawing/2017/decorative" val="1"/>
                </a:ext>
              </a:extLst>
            </p:cNvPr>
            <p:cNvCxnSpPr/>
            <p:nvPr/>
          </p:nvCxnSpPr>
          <p:spPr>
            <a:xfrm>
              <a:off x="4438234" y="933293"/>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603" name="Google Shape;603;p39"/>
          <p:cNvSpPr txBox="1">
            <a:spLocks noGrp="1"/>
          </p:cNvSpPr>
          <p:nvPr>
            <p:ph type="title"/>
          </p:nvPr>
        </p:nvSpPr>
        <p:spPr>
          <a:xfrm>
            <a:off x="5852160" y="154838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02" name="Google Shape;602;p39"/>
          <p:cNvSpPr txBox="1">
            <a:spLocks noGrp="1"/>
          </p:cNvSpPr>
          <p:nvPr>
            <p:ph type="subTitle" idx="1"/>
          </p:nvPr>
        </p:nvSpPr>
        <p:spPr>
          <a:xfrm>
            <a:off x="5876544" y="999744"/>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604" name="Google Shape;604;p39"/>
          <p:cNvSpPr txBox="1">
            <a:spLocks noGrp="1"/>
          </p:cNvSpPr>
          <p:nvPr>
            <p:ph type="body" idx="2"/>
          </p:nvPr>
        </p:nvSpPr>
        <p:spPr>
          <a:xfrm>
            <a:off x="5852160" y="3048000"/>
            <a:ext cx="4035600" cy="2536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12" name="Google Shape;268;p27">
            <a:extLst>
              <a:ext uri="{FF2B5EF4-FFF2-40B4-BE49-F238E27FC236}">
                <a16:creationId xmlns:a16="http://schemas.microsoft.com/office/drawing/2014/main" id="{3C755F27-DA08-304E-BFC4-543F651D9379}"/>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ACD42835-BD4F-F1DB-D84D-3833B8B857A5}"/>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48114755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lIns="45705" tIns="18273" rIns="45705" bIns="18273" anchor="ctr"/>
          <a:lstStyle>
            <a:lvl1pPr marL="0" indent="0" algn="l" defTabSz="912971" rtl="0" eaLnBrk="1" latinLnBrk="0" hangingPunct="1">
              <a:lnSpc>
                <a:spcPct val="90000"/>
              </a:lnSpc>
              <a:spcBef>
                <a:spcPts val="999"/>
              </a:spcBef>
              <a:buFont typeface="Arial" panose="020B0604020202020204" pitchFamily="34" charset="0"/>
              <a:buNone/>
              <a:defRPr lang="en-US" sz="3375" b="1" kern="1200" dirty="0">
                <a:solidFill>
                  <a:schemeClr val="bg1"/>
                </a:solidFill>
                <a:effectLst/>
                <a:latin typeface="Helvetica" pitchFamily="2" charset="0"/>
                <a:ea typeface="+mn-ea"/>
                <a:cs typeface="+mn-cs"/>
              </a:defRPr>
            </a:lvl1pPr>
          </a:lstStyle>
          <a:p>
            <a:r>
              <a:rPr lang="en-US" dirty="0"/>
              <a:t>Click to edit Master title style</a:t>
            </a:r>
          </a:p>
        </p:txBody>
      </p:sp>
      <p:cxnSp>
        <p:nvCxnSpPr>
          <p:cNvPr id="7" name="Google Shape;67;p15">
            <a:extLst>
              <a:ext uri="{FF2B5EF4-FFF2-40B4-BE49-F238E27FC236}">
                <a16:creationId xmlns:a16="http://schemas.microsoft.com/office/drawing/2014/main" id="{9C950167-4592-3534-1CFA-A065861E64DB}"/>
              </a:ext>
              <a:ext uri="{C183D7F6-B498-43B3-948B-1728B52AA6E4}">
                <adec:decorative xmlns:adec="http://schemas.microsoft.com/office/drawing/2017/decorative" val="1"/>
              </a:ext>
            </a:extLst>
          </p:cNvPr>
          <p:cNvCxnSpPr/>
          <p:nvPr userDrawn="1"/>
        </p:nvCxnSpPr>
        <p:spPr>
          <a:xfrm>
            <a:off x="840271" y="6377214"/>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268;p27">
            <a:extLst>
              <a:ext uri="{FF2B5EF4-FFF2-40B4-BE49-F238E27FC236}">
                <a16:creationId xmlns:a16="http://schemas.microsoft.com/office/drawing/2014/main" id="{A85CDCA3-5218-7913-EC90-D7FE8699D783}"/>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243549B8-5064-2A3E-909E-36914EBF7314}"/>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629265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7" name="Freeform: Shape 6">
            <a:extLst>
              <a:ext uri="{FF2B5EF4-FFF2-40B4-BE49-F238E27FC236}">
                <a16:creationId xmlns:a16="http://schemas.microsoft.com/office/drawing/2014/main" id="{4CF96AC2-8C24-70C9-A3A3-E7084EDA589D}"/>
              </a:ext>
              <a:ext uri="{C183D7F6-B498-43B3-948B-1728B52AA6E4}">
                <adec:decorative xmlns:adec="http://schemas.microsoft.com/office/drawing/2017/decorative" val="1"/>
              </a:ext>
            </a:extLst>
          </p:cNvPr>
          <p:cNvSpPr/>
          <p:nvPr userDrawn="1"/>
        </p:nvSpPr>
        <p:spPr>
          <a:xfrm>
            <a:off x="1" y="1"/>
            <a:ext cx="7689829" cy="6857999"/>
          </a:xfrm>
          <a:custGeom>
            <a:avLst/>
            <a:gdLst>
              <a:gd name="connsiteX0" fmla="*/ 0 w 12284703"/>
              <a:gd name="connsiteY0" fmla="*/ 0 h 10972798"/>
              <a:gd name="connsiteX1" fmla="*/ 11386938 w 12284703"/>
              <a:gd name="connsiteY1" fmla="*/ 0 h 10972798"/>
              <a:gd name="connsiteX2" fmla="*/ 11433256 w 12284703"/>
              <a:gd name="connsiteY2" fmla="*/ 90435 h 10972798"/>
              <a:gd name="connsiteX3" fmla="*/ 12284703 w 12284703"/>
              <a:gd name="connsiteY3" fmla="*/ 3833809 h 10972798"/>
              <a:gd name="connsiteX4" fmla="*/ 8816398 w 12284703"/>
              <a:gd name="connsiteY4" fmla="*/ 10752868 h 10972798"/>
              <a:gd name="connsiteX5" fmla="*/ 8507122 w 12284703"/>
              <a:gd name="connsiteY5" fmla="*/ 10972798 h 10972798"/>
              <a:gd name="connsiteX6" fmla="*/ 0 w 12284703"/>
              <a:gd name="connsiteY6" fmla="*/ 10972798 h 10972798"/>
              <a:gd name="connsiteX7" fmla="*/ 0 w 12284703"/>
              <a:gd name="connsiteY7" fmla="*/ 0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03" h="10972798">
                <a:moveTo>
                  <a:pt x="0" y="0"/>
                </a:moveTo>
                <a:lnTo>
                  <a:pt x="11386938" y="0"/>
                </a:lnTo>
                <a:lnTo>
                  <a:pt x="11433256" y="90435"/>
                </a:lnTo>
                <a:cubicBezTo>
                  <a:pt x="11978916" y="1222862"/>
                  <a:pt x="12284703" y="2492625"/>
                  <a:pt x="12284703" y="3833809"/>
                </a:cubicBezTo>
                <a:cubicBezTo>
                  <a:pt x="12284703" y="6665197"/>
                  <a:pt x="10921873" y="9178278"/>
                  <a:pt x="8816398" y="10752868"/>
                </a:cubicBezTo>
                <a:lnTo>
                  <a:pt x="8507122" y="10972798"/>
                </a:lnTo>
                <a:lnTo>
                  <a:pt x="0" y="10972798"/>
                </a:lnTo>
                <a:lnTo>
                  <a:pt x="0" y="0"/>
                </a:lnTo>
                <a:close/>
              </a:path>
            </a:pathLst>
          </a:custGeom>
          <a:gradFill>
            <a:gsLst>
              <a:gs pos="68000">
                <a:srgbClr val="D59DFF">
                  <a:alpha val="0"/>
                </a:srgbClr>
              </a:gs>
              <a:gs pos="0">
                <a:schemeClr val="accent3">
                  <a:alpha val="58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cxnSp>
        <p:nvCxnSpPr>
          <p:cNvPr id="3" name="Straight Connector 2">
            <a:extLst>
              <a:ext uri="{FF2B5EF4-FFF2-40B4-BE49-F238E27FC236}">
                <a16:creationId xmlns:a16="http://schemas.microsoft.com/office/drawing/2014/main" id="{4208A27C-250D-5645-8D7F-C2C259BD6246}"/>
              </a:ext>
              <a:ext uri="{C183D7F6-B498-43B3-948B-1728B52AA6E4}">
                <adec:decorative xmlns:adec="http://schemas.microsoft.com/office/drawing/2017/decorative" val="1"/>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a:lnSpc>
                <a:spcPct val="120000"/>
              </a:lnSpc>
            </a:pPr>
            <a:r>
              <a:rPr lang="en-US" sz="625" spc="375" dirty="0">
                <a:solidFill>
                  <a:srgbClr val="627597"/>
                </a:solidFill>
                <a:latin typeface="Helvetica" pitchFamily="2" charset="0"/>
                <a:cs typeface="Segoe UI Light" panose="020B0502040204020203" pitchFamily="34" charset="0"/>
              </a:rPr>
              <a:t>ACCELERATING INNOVATION WITH DEVOPS</a:t>
            </a: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algn="r">
              <a:lnSpc>
                <a:spcPct val="120000"/>
              </a:lnSpc>
            </a:pPr>
            <a:fld id="{D4F9CC37-649C-A24D-8487-AF6F4FDCA213}" type="slidenum">
              <a:rPr lang="en-US" sz="625" spc="375" smtClean="0">
                <a:solidFill>
                  <a:schemeClr val="bg1"/>
                </a:solidFill>
                <a:latin typeface="Helvetica" pitchFamily="2" charset="0"/>
                <a:cs typeface="Segoe UI Light" panose="020B0502040204020203" pitchFamily="34" charset="0"/>
              </a:rPr>
              <a:t>‹#›</a:t>
            </a:fld>
            <a:endParaRPr lang="en-US" sz="625" spc="375">
              <a:solidFill>
                <a:schemeClr val="bg1"/>
              </a:solidFill>
              <a:latin typeface="Helvetica" pitchFamily="2" charset="0"/>
              <a:cs typeface="Segoe UI Light" panose="020B0502040204020203" pitchFamily="34" charset="0"/>
            </a:endParaRPr>
          </a:p>
        </p:txBody>
      </p:sp>
    </p:spTree>
    <p:extLst>
      <p:ext uri="{BB962C8B-B14F-4D97-AF65-F5344CB8AC3E}">
        <p14:creationId xmlns:p14="http://schemas.microsoft.com/office/powerpoint/2010/main" val="162681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Subsection Cover B" preserve="1">
  <p:cSld name="Subsection Cover B">
    <p:spTree>
      <p:nvGrpSpPr>
        <p:cNvPr id="1" name="Shape 53"/>
        <p:cNvGrpSpPr/>
        <p:nvPr/>
      </p:nvGrpSpPr>
      <p:grpSpPr>
        <a:xfrm>
          <a:off x="0" y="0"/>
          <a:ext cx="0" cy="0"/>
          <a:chOff x="0" y="0"/>
          <a:chExt cx="0" cy="0"/>
        </a:xfrm>
      </p:grpSpPr>
      <p:sp>
        <p:nvSpPr>
          <p:cNvPr id="54" name="Google Shape;54;p14"/>
          <p:cNvSpPr/>
          <p:nvPr/>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5" name="Google Shape;55;p14"/>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56" name="Google Shape;56;p14"/>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57" name="Google Shape;57;p14"/>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58" name="Google Shape;58;p14"/>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t>1</a:t>
            </a:r>
            <a:endParaRPr kumimoji="0" sz="933"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59" name="Google Shape;59;p14"/>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0" name="Google Shape;60;p14"/>
          <p:cNvPicPr preferRelativeResize="0"/>
          <p:nvPr/>
        </p:nvPicPr>
        <p:blipFill rotWithShape="1">
          <a:blip r:embed="rId2">
            <a:alphaModFix amt="30000"/>
          </a:blip>
          <a:srcRect/>
          <a:stretch/>
        </p:blipFill>
        <p:spPr>
          <a:xfrm>
            <a:off x="-4218439" y="920754"/>
            <a:ext cx="5016492" cy="5016492"/>
          </a:xfrm>
          <a:prstGeom prst="rect">
            <a:avLst/>
          </a:prstGeom>
          <a:noFill/>
          <a:ln>
            <a:noFill/>
          </a:ln>
        </p:spPr>
      </p:pic>
      <p:pic>
        <p:nvPicPr>
          <p:cNvPr id="61" name="Google Shape;61;p14"/>
          <p:cNvPicPr preferRelativeResize="0"/>
          <p:nvPr/>
        </p:nvPicPr>
        <p:blipFill rotWithShape="1">
          <a:blip r:embed="rId3">
            <a:alphaModFix/>
          </a:blip>
          <a:srcRect r="891"/>
          <a:stretch/>
        </p:blipFill>
        <p:spPr>
          <a:xfrm>
            <a:off x="5154968" y="0"/>
            <a:ext cx="7037033" cy="6857997"/>
          </a:xfrm>
          <a:prstGeom prst="rect">
            <a:avLst/>
          </a:prstGeom>
          <a:noFill/>
          <a:ln>
            <a:noFill/>
          </a:ln>
        </p:spPr>
      </p:pic>
      <p:sp>
        <p:nvSpPr>
          <p:cNvPr id="62" name="Google Shape;62;p14"/>
          <p:cNvSpPr/>
          <p:nvPr/>
        </p:nvSpPr>
        <p:spPr>
          <a:xfrm rot="10800000">
            <a:off x="1331867" y="333"/>
            <a:ext cx="97600" cy="4535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63" name="Google Shape;63;p14"/>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4" name="Google Shape;64;p14"/>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16650003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End Slide" preserve="1">
  <p:cSld name="End Slide">
    <p:spTree>
      <p:nvGrpSpPr>
        <p:cNvPr id="1" name="Shape 76"/>
        <p:cNvGrpSpPr/>
        <p:nvPr/>
      </p:nvGrpSpPr>
      <p:grpSpPr>
        <a:xfrm>
          <a:off x="0" y="0"/>
          <a:ext cx="0" cy="0"/>
          <a:chOff x="0" y="0"/>
          <a:chExt cx="0" cy="0"/>
        </a:xfrm>
      </p:grpSpPr>
      <p:pic>
        <p:nvPicPr>
          <p:cNvPr id="77" name="Google Shape;77;p16" descr="A picture containing logo&#10;&#10;Description automatically generated"/>
          <p:cNvPicPr preferRelativeResize="0"/>
          <p:nvPr/>
        </p:nvPicPr>
        <p:blipFill rotWithShape="1">
          <a:blip r:embed="rId2">
            <a:alphaModFix/>
          </a:blip>
          <a:srcRect/>
          <a:stretch/>
        </p:blipFill>
        <p:spPr>
          <a:xfrm>
            <a:off x="1" y="1"/>
            <a:ext cx="7846684" cy="6858001"/>
          </a:xfrm>
          <a:prstGeom prst="rect">
            <a:avLst/>
          </a:prstGeom>
          <a:noFill/>
          <a:ln>
            <a:noFill/>
          </a:ln>
        </p:spPr>
      </p:pic>
      <p:sp>
        <p:nvSpPr>
          <p:cNvPr id="78" name="Google Shape;78;p16"/>
          <p:cNvSpPr/>
          <p:nvPr/>
        </p:nvSpPr>
        <p:spPr>
          <a:xfrm>
            <a:off x="2346971" y="2190768"/>
            <a:ext cx="4869200" cy="38168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79" name="Google Shape;79;p16"/>
          <p:cNvSpPr/>
          <p:nvPr/>
        </p:nvSpPr>
        <p:spPr>
          <a:xfrm rot="10800000">
            <a:off x="7216169" y="2190664"/>
            <a:ext cx="3778400" cy="3816800"/>
          </a:xfrm>
          <a:prstGeom prst="roundRect">
            <a:avLst>
              <a:gd name="adj" fmla="val 371"/>
            </a:avLst>
          </a:prstGeom>
          <a:gradFill>
            <a:gsLst>
              <a:gs pos="0">
                <a:schemeClr val="accent2"/>
              </a:gs>
              <a:gs pos="100000">
                <a:srgbClr val="28AFEA"/>
              </a:gs>
            </a:gsLst>
            <a:lin ang="5400012"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80" name="Google Shape;80;p16"/>
          <p:cNvPicPr preferRelativeResize="0"/>
          <p:nvPr/>
        </p:nvPicPr>
        <p:blipFill rotWithShape="1">
          <a:blip r:embed="rId3">
            <a:alphaModFix amt="30000"/>
          </a:blip>
          <a:srcRect/>
          <a:stretch/>
        </p:blipFill>
        <p:spPr>
          <a:xfrm>
            <a:off x="11443030" y="2190769"/>
            <a:ext cx="5016492" cy="5016492"/>
          </a:xfrm>
          <a:prstGeom prst="rect">
            <a:avLst/>
          </a:prstGeom>
          <a:noFill/>
          <a:ln>
            <a:noFill/>
          </a:ln>
        </p:spPr>
      </p:pic>
      <p:sp>
        <p:nvSpPr>
          <p:cNvPr id="81" name="Google Shape;81;p16"/>
          <p:cNvSpPr/>
          <p:nvPr/>
        </p:nvSpPr>
        <p:spPr>
          <a:xfrm rot="10800000">
            <a:off x="11419233" y="300"/>
            <a:ext cx="97600" cy="1881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82" name="Google Shape;82;p16"/>
          <p:cNvSpPr txBox="1">
            <a:spLocks noGrp="1"/>
          </p:cNvSpPr>
          <p:nvPr>
            <p:ph type="title"/>
          </p:nvPr>
        </p:nvSpPr>
        <p:spPr>
          <a:xfrm>
            <a:off x="7022592" y="707136"/>
            <a:ext cx="3974400" cy="1036400"/>
          </a:xfrm>
          <a:prstGeom prst="rect">
            <a:avLst/>
          </a:prstGeom>
        </p:spPr>
        <p:txBody>
          <a:bodyPr spcFirstLastPara="1" wrap="square" lIns="45700" tIns="18275" rIns="45700" bIns="18275" anchor="t" anchorCtr="0">
            <a:noAutofit/>
          </a:bodyPr>
          <a:lstStyle>
            <a:lvl1pPr lvl="0" algn="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 name="Google Shape;83;p16"/>
          <p:cNvSpPr txBox="1">
            <a:spLocks noGrp="1"/>
          </p:cNvSpPr>
          <p:nvPr>
            <p:ph type="title" idx="2"/>
          </p:nvPr>
        </p:nvSpPr>
        <p:spPr>
          <a:xfrm>
            <a:off x="2804160" y="2572512"/>
            <a:ext cx="3804000" cy="10972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700"/>
              <a:buNone/>
              <a:defRPr sz="2267"/>
            </a:lvl2pPr>
            <a:lvl3pPr lvl="2">
              <a:spcBef>
                <a:spcPts val="0"/>
              </a:spcBef>
              <a:spcAft>
                <a:spcPts val="0"/>
              </a:spcAft>
              <a:buSzPts val="1700"/>
              <a:buNone/>
              <a:defRPr sz="2267"/>
            </a:lvl3pPr>
            <a:lvl4pPr lvl="3">
              <a:spcBef>
                <a:spcPts val="0"/>
              </a:spcBef>
              <a:spcAft>
                <a:spcPts val="0"/>
              </a:spcAft>
              <a:buSzPts val="1700"/>
              <a:buNone/>
              <a:defRPr sz="2267"/>
            </a:lvl4pPr>
            <a:lvl5pPr lvl="4">
              <a:spcBef>
                <a:spcPts val="0"/>
              </a:spcBef>
              <a:spcAft>
                <a:spcPts val="0"/>
              </a:spcAft>
              <a:buSzPts val="1700"/>
              <a:buNone/>
              <a:defRPr sz="2267"/>
            </a:lvl5pPr>
            <a:lvl6pPr lvl="5">
              <a:spcBef>
                <a:spcPts val="0"/>
              </a:spcBef>
              <a:spcAft>
                <a:spcPts val="0"/>
              </a:spcAft>
              <a:buSzPts val="1700"/>
              <a:buNone/>
              <a:defRPr sz="2267"/>
            </a:lvl6pPr>
            <a:lvl7pPr lvl="6">
              <a:spcBef>
                <a:spcPts val="0"/>
              </a:spcBef>
              <a:spcAft>
                <a:spcPts val="0"/>
              </a:spcAft>
              <a:buSzPts val="1700"/>
              <a:buNone/>
              <a:defRPr sz="2267"/>
            </a:lvl7pPr>
            <a:lvl8pPr lvl="7">
              <a:spcBef>
                <a:spcPts val="0"/>
              </a:spcBef>
              <a:spcAft>
                <a:spcPts val="0"/>
              </a:spcAft>
              <a:buSzPts val="1700"/>
              <a:buNone/>
              <a:defRPr sz="2267"/>
            </a:lvl8pPr>
            <a:lvl9pPr lvl="8">
              <a:spcBef>
                <a:spcPts val="0"/>
              </a:spcBef>
              <a:spcAft>
                <a:spcPts val="0"/>
              </a:spcAft>
              <a:buSzPts val="1700"/>
              <a:buNone/>
              <a:defRPr sz="2267"/>
            </a:lvl9pPr>
          </a:lstStyle>
          <a:p>
            <a:endParaRPr/>
          </a:p>
        </p:txBody>
      </p:sp>
      <p:sp>
        <p:nvSpPr>
          <p:cNvPr id="84" name="Google Shape;84;p16"/>
          <p:cNvSpPr txBox="1">
            <a:spLocks noGrp="1"/>
          </p:cNvSpPr>
          <p:nvPr>
            <p:ph type="body" idx="1"/>
          </p:nvPr>
        </p:nvSpPr>
        <p:spPr>
          <a:xfrm>
            <a:off x="2791968" y="3742944"/>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85" name="Google Shape;85;p16"/>
          <p:cNvSpPr txBox="1">
            <a:spLocks noGrp="1"/>
          </p:cNvSpPr>
          <p:nvPr>
            <p:ph type="body" idx="3"/>
          </p:nvPr>
        </p:nvSpPr>
        <p:spPr>
          <a:xfrm>
            <a:off x="7985760" y="2633472"/>
            <a:ext cx="1865200" cy="244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86" name="Google Shape;86;p16"/>
          <p:cNvSpPr txBox="1">
            <a:spLocks noGrp="1"/>
          </p:cNvSpPr>
          <p:nvPr>
            <p:ph type="body" idx="4"/>
          </p:nvPr>
        </p:nvSpPr>
        <p:spPr>
          <a:xfrm>
            <a:off x="7985760" y="3060192"/>
            <a:ext cx="18408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pic>
        <p:nvPicPr>
          <p:cNvPr id="87" name="Google Shape;87;p16"/>
          <p:cNvPicPr preferRelativeResize="0"/>
          <p:nvPr/>
        </p:nvPicPr>
        <p:blipFill rotWithShape="1">
          <a:blip r:embed="rId4">
            <a:alphaModFix/>
          </a:blip>
          <a:srcRect/>
          <a:stretch/>
        </p:blipFill>
        <p:spPr>
          <a:xfrm>
            <a:off x="7634501" y="2601357"/>
            <a:ext cx="254409" cy="254409"/>
          </a:xfrm>
          <a:prstGeom prst="rect">
            <a:avLst/>
          </a:prstGeom>
          <a:noFill/>
          <a:ln>
            <a:noFill/>
          </a:ln>
        </p:spPr>
      </p:pic>
      <p:sp>
        <p:nvSpPr>
          <p:cNvPr id="88" name="Google Shape;88;p16"/>
          <p:cNvSpPr/>
          <p:nvPr/>
        </p:nvSpPr>
        <p:spPr>
          <a:xfrm>
            <a:off x="7613708" y="3102871"/>
            <a:ext cx="296424" cy="194256"/>
          </a:xfrm>
          <a:custGeom>
            <a:avLst/>
            <a:gdLst/>
            <a:ahLst/>
            <a:cxnLst/>
            <a:rect l="l" t="t" r="r" b="b"/>
            <a:pathLst>
              <a:path w="21600" h="21600" extrusionOk="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lt1"/>
          </a:solidFill>
          <a:ln>
            <a:noFill/>
          </a:ln>
        </p:spPr>
        <p:txBody>
          <a:bodyPr spcFirstLastPara="1" wrap="square" lIns="11933" tIns="11933" rIns="11933" bIns="11933"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933" b="0" i="0" u="none" strike="noStrike" kern="1200" cap="none" spc="0" normalizeH="0" baseline="0" noProof="0">
              <a:ln>
                <a:noFill/>
              </a:ln>
              <a:solidFill>
                <a:srgbClr val="595959"/>
              </a:solidFill>
              <a:effectLst/>
              <a:uLnTx/>
              <a:uFillTx/>
              <a:latin typeface="Helvetica" pitchFamily="2" charset="0"/>
              <a:ea typeface="Gill Sans"/>
              <a:cs typeface="Gill Sans"/>
              <a:sym typeface="Gill Sans"/>
            </a:endParaRPr>
          </a:p>
        </p:txBody>
      </p:sp>
    </p:spTree>
    <p:extLst>
      <p:ext uri="{BB962C8B-B14F-4D97-AF65-F5344CB8AC3E}">
        <p14:creationId xmlns:p14="http://schemas.microsoft.com/office/powerpoint/2010/main" val="82299543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Laptop Screen" preserve="1">
  <p:cSld name="Laptop Screen">
    <p:spTree>
      <p:nvGrpSpPr>
        <p:cNvPr id="1" name="Shape 89"/>
        <p:cNvGrpSpPr/>
        <p:nvPr/>
      </p:nvGrpSpPr>
      <p:grpSpPr>
        <a:xfrm>
          <a:off x="0" y="0"/>
          <a:ext cx="0" cy="0"/>
          <a:chOff x="0" y="0"/>
          <a:chExt cx="0" cy="0"/>
        </a:xfrm>
      </p:grpSpPr>
      <p:sp>
        <p:nvSpPr>
          <p:cNvPr id="90" name="Google Shape;90;p17"/>
          <p:cNvSpPr/>
          <p:nvPr/>
        </p:nvSpPr>
        <p:spPr>
          <a:xfrm>
            <a:off x="771253" y="3384321"/>
            <a:ext cx="10648400" cy="8794800"/>
          </a:xfrm>
          <a:prstGeom prst="ellipse">
            <a:avLst/>
          </a:prstGeom>
          <a:gradFill>
            <a:gsLst>
              <a:gs pos="0">
                <a:srgbClr val="D59DFF">
                  <a:alpha val="9803"/>
                </a:srgbClr>
              </a:gs>
              <a:gs pos="79000">
                <a:srgbClr val="1F9CF0"/>
              </a:gs>
              <a:gs pos="100000">
                <a:srgbClr val="1F9CF0"/>
              </a:gs>
            </a:gsLst>
            <a:lin ang="5400012"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91" name="Google Shape;91;p17"/>
          <p:cNvPicPr preferRelativeResize="0"/>
          <p:nvPr/>
        </p:nvPicPr>
        <p:blipFill rotWithShape="1">
          <a:blip r:embed="rId2">
            <a:alphaModFix/>
          </a:blip>
          <a:srcRect/>
          <a:stretch/>
        </p:blipFill>
        <p:spPr>
          <a:xfrm>
            <a:off x="2512548" y="2210315"/>
            <a:ext cx="7155829" cy="3910328"/>
          </a:xfrm>
          <a:prstGeom prst="rect">
            <a:avLst/>
          </a:prstGeom>
          <a:noFill/>
          <a:ln>
            <a:noFill/>
          </a:ln>
          <a:effectLst>
            <a:outerShdw blurRad="1270000" sx="90000" sy="-19000" rotWithShape="0">
              <a:srgbClr val="000000">
                <a:alpha val="40000"/>
              </a:srgbClr>
            </a:outerShdw>
          </a:effectLst>
        </p:spPr>
      </p:pic>
      <p:sp>
        <p:nvSpPr>
          <p:cNvPr id="92" name="Google Shape;92;p17"/>
          <p:cNvSpPr/>
          <p:nvPr/>
        </p:nvSpPr>
        <p:spPr>
          <a:xfrm>
            <a:off x="965461" y="2267483"/>
            <a:ext cx="2126800" cy="1116800"/>
          </a:xfrm>
          <a:prstGeom prst="wedgeRectCallout">
            <a:avLst>
              <a:gd name="adj1" fmla="val 72666"/>
              <a:gd name="adj2" fmla="val 36106"/>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93" name="Google Shape;93;p17"/>
          <p:cNvSpPr/>
          <p:nvPr/>
        </p:nvSpPr>
        <p:spPr>
          <a:xfrm>
            <a:off x="965461" y="3909925"/>
            <a:ext cx="2126800" cy="1059600"/>
          </a:xfrm>
          <a:prstGeom prst="wedgeRectCallout">
            <a:avLst>
              <a:gd name="adj1" fmla="val 74259"/>
              <a:gd name="adj2" fmla="val -62681"/>
            </a:avLst>
          </a:prstGeom>
          <a:gradFill>
            <a:gsLst>
              <a:gs pos="0">
                <a:srgbClr val="1F9CF0"/>
              </a:gs>
              <a:gs pos="100000">
                <a:srgbClr val="9477E2">
                  <a:alpha val="20000"/>
                </a:srgbClr>
              </a:gs>
            </a:gsLst>
            <a:lin ang="2700006" scaled="0"/>
          </a:gradFill>
          <a:ln>
            <a:noFill/>
          </a:ln>
          <a:effectLst>
            <a:outerShdw blurRad="1270000" dist="685800" dir="18900000" sx="85000" sy="85000" algn="b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94" name="Google Shape;94;p17"/>
          <p:cNvSpPr/>
          <p:nvPr/>
        </p:nvSpPr>
        <p:spPr>
          <a:xfrm>
            <a:off x="9099824" y="2267483"/>
            <a:ext cx="2126800" cy="1116800"/>
          </a:xfrm>
          <a:prstGeom prst="wedgeRectCallout">
            <a:avLst>
              <a:gd name="adj1" fmla="val -82756"/>
              <a:gd name="adj2" fmla="val -6358"/>
            </a:avLst>
          </a:prstGeom>
          <a:gradFill>
            <a:gsLst>
              <a:gs pos="0">
                <a:srgbClr val="9477E2">
                  <a:alpha val="20000"/>
                </a:srgbClr>
              </a:gs>
              <a:gs pos="100000">
                <a:schemeClr val="accent2"/>
              </a:gs>
            </a:gsLst>
            <a:lin ang="0" scaled="0"/>
          </a:gradFill>
          <a:ln>
            <a:noFill/>
          </a:ln>
          <a:effectLst>
            <a:outerShdw blurRad="1270000" dist="1016000" dir="8100000" sx="86000" sy="86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95" name="Google Shape;95;p17"/>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96" name="Google Shape;96;p17"/>
          <p:cNvSpPr/>
          <p:nvPr/>
        </p:nvSpPr>
        <p:spPr>
          <a:xfrm>
            <a:off x="9098853" y="3909924"/>
            <a:ext cx="2126800" cy="1059600"/>
          </a:xfrm>
          <a:prstGeom prst="wedgeRectCallout">
            <a:avLst>
              <a:gd name="adj1" fmla="val -85826"/>
              <a:gd name="adj2" fmla="val -7867"/>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97" name="Google Shape;97;p17"/>
          <p:cNvPicPr preferRelativeResize="0"/>
          <p:nvPr/>
        </p:nvPicPr>
        <p:blipFill rotWithShape="1">
          <a:blip r:embed="rId3">
            <a:alphaModFix amt="30000"/>
          </a:blip>
          <a:srcRect/>
          <a:stretch/>
        </p:blipFill>
        <p:spPr>
          <a:xfrm>
            <a:off x="-3954558" y="-3336011"/>
            <a:ext cx="5016492" cy="5016492"/>
          </a:xfrm>
          <a:prstGeom prst="rect">
            <a:avLst/>
          </a:prstGeom>
          <a:noFill/>
          <a:ln>
            <a:noFill/>
          </a:ln>
        </p:spPr>
      </p:pic>
      <p:pic>
        <p:nvPicPr>
          <p:cNvPr id="98" name="Google Shape;98;p17"/>
          <p:cNvPicPr preferRelativeResize="0"/>
          <p:nvPr/>
        </p:nvPicPr>
        <p:blipFill rotWithShape="1">
          <a:blip r:embed="rId3">
            <a:alphaModFix amt="30000"/>
          </a:blip>
          <a:srcRect/>
          <a:stretch/>
        </p:blipFill>
        <p:spPr>
          <a:xfrm>
            <a:off x="11122303" y="-3331779"/>
            <a:ext cx="5016492" cy="5016492"/>
          </a:xfrm>
          <a:prstGeom prst="rect">
            <a:avLst/>
          </a:prstGeom>
          <a:noFill/>
          <a:ln>
            <a:noFill/>
          </a:ln>
        </p:spPr>
      </p:pic>
      <p:sp>
        <p:nvSpPr>
          <p:cNvPr id="99" name="Google Shape;99;p17"/>
          <p:cNvSpPr>
            <a:spLocks noGrp="1"/>
          </p:cNvSpPr>
          <p:nvPr>
            <p:ph type="pic" idx="2"/>
          </p:nvPr>
        </p:nvSpPr>
        <p:spPr>
          <a:xfrm>
            <a:off x="3523488" y="2462784"/>
            <a:ext cx="5157200" cy="3218800"/>
          </a:xfrm>
          <a:prstGeom prst="rect">
            <a:avLst/>
          </a:prstGeom>
          <a:noFill/>
          <a:ln>
            <a:noFill/>
          </a:ln>
        </p:spPr>
        <p:txBody>
          <a:bodyPr anchor="ctr"/>
          <a:lstStyle>
            <a:lvl1pPr marL="0" indent="0" algn="ctr">
              <a:buNone/>
              <a:defRPr sz="1067" b="0" i="0">
                <a:solidFill>
                  <a:schemeClr val="tx1"/>
                </a:solidFill>
                <a:latin typeface="Helvetica" pitchFamily="2" charset="0"/>
              </a:defRPr>
            </a:lvl1pPr>
          </a:lstStyle>
          <a:p>
            <a:endParaRPr lang="en-US"/>
          </a:p>
        </p:txBody>
      </p:sp>
      <p:sp>
        <p:nvSpPr>
          <p:cNvPr id="100" name="Google Shape;100;p1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rtl="0">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01" name="Google Shape;101;p1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2" name="Google Shape;102;p17"/>
          <p:cNvSpPr txBox="1">
            <a:spLocks noGrp="1"/>
          </p:cNvSpPr>
          <p:nvPr>
            <p:ph type="body" idx="3"/>
          </p:nvPr>
        </p:nvSpPr>
        <p:spPr>
          <a:xfrm>
            <a:off x="1219200" y="2414016"/>
            <a:ext cx="1633600" cy="2316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a:lnSpc>
                <a:spcPct val="100000"/>
              </a:lnSpc>
              <a:spcBef>
                <a:spcPts val="0"/>
              </a:spcBef>
              <a:spcAft>
                <a:spcPts val="0"/>
              </a:spcAft>
              <a:buSzPts val="900"/>
              <a:buChar char="○"/>
              <a:defRPr sz="1200"/>
            </a:lvl2pPr>
            <a:lvl3pPr marL="1828754" lvl="2" indent="-380990" algn="ctr">
              <a:lnSpc>
                <a:spcPct val="100000"/>
              </a:lnSpc>
              <a:spcBef>
                <a:spcPts val="0"/>
              </a:spcBef>
              <a:spcAft>
                <a:spcPts val="0"/>
              </a:spcAft>
              <a:buSzPts val="900"/>
              <a:buChar char="■"/>
              <a:defRPr sz="1200"/>
            </a:lvl3pPr>
            <a:lvl4pPr marL="2438339" lvl="3" indent="-380990" algn="ctr">
              <a:lnSpc>
                <a:spcPct val="100000"/>
              </a:lnSpc>
              <a:spcBef>
                <a:spcPts val="0"/>
              </a:spcBef>
              <a:spcAft>
                <a:spcPts val="0"/>
              </a:spcAft>
              <a:buSzPts val="900"/>
              <a:buChar char="●"/>
              <a:defRPr sz="1200"/>
            </a:lvl4pPr>
            <a:lvl5pPr marL="3047924" lvl="4" indent="-380990" algn="ctr">
              <a:lnSpc>
                <a:spcPct val="100000"/>
              </a:lnSpc>
              <a:spcBef>
                <a:spcPts val="0"/>
              </a:spcBef>
              <a:spcAft>
                <a:spcPts val="0"/>
              </a:spcAft>
              <a:buSzPts val="900"/>
              <a:buChar char="○"/>
              <a:defRPr sz="1200"/>
            </a:lvl5pPr>
            <a:lvl6pPr marL="3657509" lvl="5" indent="-380990" algn="ctr">
              <a:lnSpc>
                <a:spcPct val="100000"/>
              </a:lnSpc>
              <a:spcBef>
                <a:spcPts val="0"/>
              </a:spcBef>
              <a:spcAft>
                <a:spcPts val="0"/>
              </a:spcAft>
              <a:buSzPts val="900"/>
              <a:buChar char="■"/>
              <a:defRPr sz="1200"/>
            </a:lvl6pPr>
            <a:lvl7pPr marL="4267093" lvl="6" indent="-380990" algn="ctr">
              <a:lnSpc>
                <a:spcPct val="100000"/>
              </a:lnSpc>
              <a:spcBef>
                <a:spcPts val="0"/>
              </a:spcBef>
              <a:spcAft>
                <a:spcPts val="0"/>
              </a:spcAft>
              <a:buSzPts val="900"/>
              <a:buChar char="●"/>
              <a:defRPr sz="1200"/>
            </a:lvl7pPr>
            <a:lvl8pPr marL="4876678" lvl="7" indent="-380990" algn="ctr">
              <a:lnSpc>
                <a:spcPct val="100000"/>
              </a:lnSpc>
              <a:spcBef>
                <a:spcPts val="0"/>
              </a:spcBef>
              <a:spcAft>
                <a:spcPts val="0"/>
              </a:spcAft>
              <a:buSzPts val="900"/>
              <a:buChar char="○"/>
              <a:defRPr sz="1200"/>
            </a:lvl8pPr>
            <a:lvl9pPr marL="5486263" lvl="8" indent="-380990" algn="ctr">
              <a:lnSpc>
                <a:spcPct val="100000"/>
              </a:lnSpc>
              <a:spcBef>
                <a:spcPts val="0"/>
              </a:spcBef>
              <a:spcAft>
                <a:spcPts val="0"/>
              </a:spcAft>
              <a:buSzPts val="900"/>
              <a:buChar char="■"/>
              <a:defRPr sz="1200"/>
            </a:lvl9pPr>
          </a:lstStyle>
          <a:p>
            <a:endParaRPr/>
          </a:p>
        </p:txBody>
      </p:sp>
      <p:sp>
        <p:nvSpPr>
          <p:cNvPr id="103" name="Google Shape;103;p17"/>
          <p:cNvSpPr txBox="1">
            <a:spLocks noGrp="1"/>
          </p:cNvSpPr>
          <p:nvPr>
            <p:ph type="body" idx="4"/>
          </p:nvPr>
        </p:nvSpPr>
        <p:spPr>
          <a:xfrm>
            <a:off x="1219200" y="40355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4" name="Google Shape;104;p17"/>
          <p:cNvSpPr txBox="1">
            <a:spLocks noGrp="1"/>
          </p:cNvSpPr>
          <p:nvPr>
            <p:ph type="body" idx="5"/>
          </p:nvPr>
        </p:nvSpPr>
        <p:spPr>
          <a:xfrm>
            <a:off x="9351264" y="241761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5" name="Google Shape;105;p17"/>
          <p:cNvSpPr txBox="1">
            <a:spLocks noGrp="1"/>
          </p:cNvSpPr>
          <p:nvPr>
            <p:ph type="body" idx="6"/>
          </p:nvPr>
        </p:nvSpPr>
        <p:spPr>
          <a:xfrm>
            <a:off x="9351400" y="40355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6" name="Google Shape;106;p17"/>
          <p:cNvSpPr txBox="1">
            <a:spLocks noGrp="1"/>
          </p:cNvSpPr>
          <p:nvPr>
            <p:ph type="body" idx="7"/>
          </p:nvPr>
        </p:nvSpPr>
        <p:spPr>
          <a:xfrm>
            <a:off x="963168" y="2694432"/>
            <a:ext cx="2121600" cy="414400"/>
          </a:xfrm>
          <a:prstGeom prst="rect">
            <a:avLst/>
          </a:prstGeom>
        </p:spPr>
        <p:txBody>
          <a:bodyPr spcFirstLastPara="1" wrap="square" lIns="82275" tIns="18275" rIns="82275" bIns="18275" anchor="t" anchorCtr="0">
            <a:noAutofit/>
          </a:bodyPr>
          <a:lstStyle>
            <a:lvl1pPr marL="0" lvl="0" indent="0" algn="ctr">
              <a:spcBef>
                <a:spcPts val="0"/>
              </a:spcBef>
              <a:spcAft>
                <a:spcPts val="0"/>
              </a:spcAft>
              <a:buSzPts val="800"/>
              <a:buNone/>
              <a:defRPr sz="1067" b="0" i="0">
                <a:latin typeface="Helvetica" pitchFamily="2" charset="0"/>
              </a:defRPr>
            </a:lvl1pPr>
            <a:lvl2pPr marL="1219170" lvl="1" indent="-372524" algn="ctr">
              <a:spcBef>
                <a:spcPts val="0"/>
              </a:spcBef>
              <a:spcAft>
                <a:spcPts val="0"/>
              </a:spcAft>
              <a:buSzPts val="800"/>
              <a:buChar char="○"/>
              <a:defRPr sz="1067"/>
            </a:lvl2pPr>
            <a:lvl3pPr marL="1828754" lvl="2" indent="-372524" algn="ctr">
              <a:spcBef>
                <a:spcPts val="0"/>
              </a:spcBef>
              <a:spcAft>
                <a:spcPts val="0"/>
              </a:spcAft>
              <a:buSzPts val="800"/>
              <a:buChar char="■"/>
              <a:defRPr sz="1067"/>
            </a:lvl3pPr>
            <a:lvl4pPr marL="2438339" lvl="3" indent="-372524" algn="ctr">
              <a:spcBef>
                <a:spcPts val="0"/>
              </a:spcBef>
              <a:spcAft>
                <a:spcPts val="0"/>
              </a:spcAft>
              <a:buSzPts val="800"/>
              <a:buChar char="●"/>
              <a:defRPr sz="1067"/>
            </a:lvl4pPr>
            <a:lvl5pPr marL="3047924" lvl="4" indent="-372524" algn="ctr">
              <a:spcBef>
                <a:spcPts val="0"/>
              </a:spcBef>
              <a:spcAft>
                <a:spcPts val="0"/>
              </a:spcAft>
              <a:buSzPts val="800"/>
              <a:buChar char="○"/>
              <a:defRPr sz="1067"/>
            </a:lvl5pPr>
            <a:lvl6pPr marL="3657509" lvl="5" indent="-372524" algn="ctr">
              <a:spcBef>
                <a:spcPts val="0"/>
              </a:spcBef>
              <a:spcAft>
                <a:spcPts val="0"/>
              </a:spcAft>
              <a:buSzPts val="800"/>
              <a:buChar char="■"/>
              <a:defRPr sz="1067"/>
            </a:lvl6pPr>
            <a:lvl7pPr marL="4267093" lvl="6" indent="-372524" algn="ctr">
              <a:spcBef>
                <a:spcPts val="0"/>
              </a:spcBef>
              <a:spcAft>
                <a:spcPts val="0"/>
              </a:spcAft>
              <a:buSzPts val="800"/>
              <a:buChar char="●"/>
              <a:defRPr sz="1067"/>
            </a:lvl7pPr>
            <a:lvl8pPr marL="4876678" lvl="7" indent="-372524" algn="ctr">
              <a:spcBef>
                <a:spcPts val="0"/>
              </a:spcBef>
              <a:spcAft>
                <a:spcPts val="0"/>
              </a:spcAft>
              <a:buSzPts val="800"/>
              <a:buChar char="○"/>
              <a:defRPr sz="1067"/>
            </a:lvl8pPr>
            <a:lvl9pPr marL="5486263" lvl="8" indent="-372524" algn="ctr">
              <a:spcBef>
                <a:spcPts val="0"/>
              </a:spcBef>
              <a:spcAft>
                <a:spcPts val="0"/>
              </a:spcAft>
              <a:buSzPts val="800"/>
              <a:buChar char="■"/>
              <a:defRPr sz="1067"/>
            </a:lvl9pPr>
          </a:lstStyle>
          <a:p>
            <a:endParaRPr/>
          </a:p>
        </p:txBody>
      </p:sp>
      <p:sp>
        <p:nvSpPr>
          <p:cNvPr id="107" name="Google Shape;107;p17"/>
          <p:cNvSpPr txBox="1">
            <a:spLocks noGrp="1"/>
          </p:cNvSpPr>
          <p:nvPr>
            <p:ph type="body" idx="8"/>
          </p:nvPr>
        </p:nvSpPr>
        <p:spPr>
          <a:xfrm>
            <a:off x="963168" y="4315968"/>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108" name="Google Shape;108;p17"/>
          <p:cNvSpPr txBox="1">
            <a:spLocks noGrp="1"/>
          </p:cNvSpPr>
          <p:nvPr>
            <p:ph type="body" idx="9"/>
          </p:nvPr>
        </p:nvSpPr>
        <p:spPr>
          <a:xfrm>
            <a:off x="9095232" y="2706624"/>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109" name="Google Shape;109;p17"/>
          <p:cNvSpPr txBox="1">
            <a:spLocks noGrp="1"/>
          </p:cNvSpPr>
          <p:nvPr>
            <p:ph type="body" idx="13"/>
          </p:nvPr>
        </p:nvSpPr>
        <p:spPr>
          <a:xfrm>
            <a:off x="9095232" y="4328160"/>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Tree>
    <p:extLst>
      <p:ext uri="{BB962C8B-B14F-4D97-AF65-F5344CB8AC3E}">
        <p14:creationId xmlns:p14="http://schemas.microsoft.com/office/powerpoint/2010/main" val="88534638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Top-Bottom Split" preserve="1">
  <p:cSld name="Top-Bottom Split">
    <p:spTree>
      <p:nvGrpSpPr>
        <p:cNvPr id="1" name="Shape 110"/>
        <p:cNvGrpSpPr/>
        <p:nvPr/>
      </p:nvGrpSpPr>
      <p:grpSpPr>
        <a:xfrm>
          <a:off x="0" y="0"/>
          <a:ext cx="0" cy="0"/>
          <a:chOff x="0" y="0"/>
          <a:chExt cx="0" cy="0"/>
        </a:xfrm>
      </p:grpSpPr>
      <p:sp>
        <p:nvSpPr>
          <p:cNvPr id="111" name="Google Shape;111;p18"/>
          <p:cNvSpPr/>
          <p:nvPr/>
        </p:nvSpPr>
        <p:spPr>
          <a:xfrm>
            <a:off x="567705" y="3784257"/>
            <a:ext cx="11624400" cy="3073600"/>
          </a:xfrm>
          <a:prstGeom prst="round2SameRect">
            <a:avLst>
              <a:gd name="adj1" fmla="val 4610"/>
              <a:gd name="adj2" fmla="val 0"/>
            </a:avLst>
          </a:prstGeom>
          <a:gradFill>
            <a:gsLst>
              <a:gs pos="0">
                <a:srgbClr val="1F9CF0"/>
              </a:gs>
              <a:gs pos="48500">
                <a:srgbClr val="9477E2">
                  <a:alpha val="48627"/>
                </a:srgbClr>
              </a:gs>
              <a:gs pos="97000">
                <a:srgbClr val="9477E2">
                  <a:alpha val="0"/>
                </a:srgbClr>
              </a:gs>
              <a:gs pos="100000">
                <a:srgbClr val="9477E2">
                  <a:alpha val="0"/>
                </a:srgbClr>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112" name="Google Shape;112;p18"/>
          <p:cNvPicPr preferRelativeResize="0"/>
          <p:nvPr/>
        </p:nvPicPr>
        <p:blipFill rotWithShape="1">
          <a:blip r:embed="rId2">
            <a:alphaModFix amt="30000"/>
          </a:blip>
          <a:srcRect/>
          <a:stretch/>
        </p:blipFill>
        <p:spPr>
          <a:xfrm>
            <a:off x="6229370" y="-4209151"/>
            <a:ext cx="5016492" cy="5016492"/>
          </a:xfrm>
          <a:prstGeom prst="rect">
            <a:avLst/>
          </a:prstGeom>
          <a:noFill/>
          <a:ln>
            <a:noFill/>
          </a:ln>
        </p:spPr>
      </p:pic>
      <p:cxnSp>
        <p:nvCxnSpPr>
          <p:cNvPr id="113" name="Google Shape;113;p18"/>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114" name="Google Shape;114;p18"/>
          <p:cNvPicPr preferRelativeResize="0"/>
          <p:nvPr/>
        </p:nvPicPr>
        <p:blipFill rotWithShape="1">
          <a:blip r:embed="rId2">
            <a:alphaModFix amt="30000"/>
          </a:blip>
          <a:srcRect/>
          <a:stretch/>
        </p:blipFill>
        <p:spPr>
          <a:xfrm>
            <a:off x="6229369" y="6169265"/>
            <a:ext cx="5016492" cy="5016492"/>
          </a:xfrm>
          <a:prstGeom prst="rect">
            <a:avLst/>
          </a:prstGeom>
          <a:noFill/>
          <a:ln>
            <a:noFill/>
          </a:ln>
        </p:spPr>
      </p:pic>
      <p:grpSp>
        <p:nvGrpSpPr>
          <p:cNvPr id="115" name="Google Shape;115;p18"/>
          <p:cNvGrpSpPr/>
          <p:nvPr/>
        </p:nvGrpSpPr>
        <p:grpSpPr>
          <a:xfrm>
            <a:off x="6239349" y="4126458"/>
            <a:ext cx="676831" cy="675447"/>
            <a:chOff x="8210789" y="6930887"/>
            <a:chExt cx="1081200" cy="1080600"/>
          </a:xfrm>
        </p:grpSpPr>
        <p:sp>
          <p:nvSpPr>
            <p:cNvPr id="116" name="Google Shape;116;p18"/>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17" name="Google Shape;117;p18"/>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118" name="Google Shape;118;p18"/>
          <p:cNvSpPr/>
          <p:nvPr/>
        </p:nvSpPr>
        <p:spPr>
          <a:xfrm rot="10800000">
            <a:off x="543900" y="433"/>
            <a:ext cx="97600" cy="2955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119" name="Google Shape;119;p1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20" name="Google Shape;120;p18"/>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18"/>
          <p:cNvSpPr txBox="1">
            <a:spLocks noGrp="1"/>
          </p:cNvSpPr>
          <p:nvPr>
            <p:ph type="body" idx="2"/>
          </p:nvPr>
        </p:nvSpPr>
        <p:spPr>
          <a:xfrm>
            <a:off x="6230112" y="1243584"/>
            <a:ext cx="4596400" cy="1499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9170" lvl="1" indent="-389457">
              <a:spcBef>
                <a:spcPts val="0"/>
              </a:spcBef>
              <a:spcAft>
                <a:spcPts val="0"/>
              </a:spcAft>
              <a:buSzPts val="1000"/>
              <a:buChar char="○"/>
              <a:defRPr/>
            </a:lvl2pPr>
            <a:lvl3pPr marL="1828754" lvl="2" indent="-389457">
              <a:spcBef>
                <a:spcPts val="0"/>
              </a:spcBef>
              <a:spcAft>
                <a:spcPts val="0"/>
              </a:spcAft>
              <a:buSzPts val="1000"/>
              <a:buChar char="■"/>
              <a:defRPr/>
            </a:lvl3pPr>
            <a:lvl4pPr marL="2438339" lvl="3" indent="-389457">
              <a:spcBef>
                <a:spcPts val="0"/>
              </a:spcBef>
              <a:spcAft>
                <a:spcPts val="0"/>
              </a:spcAft>
              <a:buSzPts val="1000"/>
              <a:buChar char="●"/>
              <a:defRPr/>
            </a:lvl4pPr>
            <a:lvl5pPr marL="3047924" lvl="4" indent="-389457">
              <a:spcBef>
                <a:spcPts val="0"/>
              </a:spcBef>
              <a:spcAft>
                <a:spcPts val="0"/>
              </a:spcAft>
              <a:buSzPts val="1000"/>
              <a:buChar char="○"/>
              <a:defRPr/>
            </a:lvl5pPr>
            <a:lvl6pPr marL="3657509" lvl="5" indent="-389457">
              <a:spcBef>
                <a:spcPts val="0"/>
              </a:spcBef>
              <a:spcAft>
                <a:spcPts val="0"/>
              </a:spcAft>
              <a:buSzPts val="1000"/>
              <a:buChar char="■"/>
              <a:defRPr/>
            </a:lvl6pPr>
            <a:lvl7pPr marL="4267093" lvl="6" indent="-389457">
              <a:spcBef>
                <a:spcPts val="0"/>
              </a:spcBef>
              <a:spcAft>
                <a:spcPts val="0"/>
              </a:spcAft>
              <a:buSzPts val="1000"/>
              <a:buChar char="●"/>
              <a:defRPr/>
            </a:lvl7pPr>
            <a:lvl8pPr marL="4876678" lvl="7" indent="-389457">
              <a:spcBef>
                <a:spcPts val="0"/>
              </a:spcBef>
              <a:spcAft>
                <a:spcPts val="0"/>
              </a:spcAft>
              <a:buSzPts val="1000"/>
              <a:buChar char="○"/>
              <a:defRPr/>
            </a:lvl8pPr>
            <a:lvl9pPr marL="5486263" lvl="8" indent="-389457">
              <a:spcBef>
                <a:spcPts val="0"/>
              </a:spcBef>
              <a:spcAft>
                <a:spcPts val="0"/>
              </a:spcAft>
              <a:buSzPts val="1000"/>
              <a:buChar char="■"/>
              <a:defRPr/>
            </a:lvl9pPr>
          </a:lstStyle>
          <a:p>
            <a:endParaRPr/>
          </a:p>
        </p:txBody>
      </p:sp>
      <p:sp>
        <p:nvSpPr>
          <p:cNvPr id="122" name="Google Shape;122;p18"/>
          <p:cNvSpPr>
            <a:spLocks noGrp="1"/>
          </p:cNvSpPr>
          <p:nvPr>
            <p:ph type="pic" idx="3"/>
          </p:nvPr>
        </p:nvSpPr>
        <p:spPr>
          <a:xfrm>
            <a:off x="6409669" y="4296087"/>
            <a:ext cx="336187" cy="336187"/>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123" name="Google Shape;123;p18"/>
          <p:cNvSpPr txBox="1">
            <a:spLocks noGrp="1"/>
          </p:cNvSpPr>
          <p:nvPr>
            <p:ph type="title" idx="4"/>
          </p:nvPr>
        </p:nvSpPr>
        <p:spPr>
          <a:xfrm>
            <a:off x="7034784" y="4255008"/>
            <a:ext cx="3755200" cy="40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8"/>
          <p:cNvSpPr txBox="1">
            <a:spLocks noGrp="1"/>
          </p:cNvSpPr>
          <p:nvPr>
            <p:ph type="body" idx="5"/>
          </p:nvPr>
        </p:nvSpPr>
        <p:spPr>
          <a:xfrm>
            <a:off x="6353483" y="4974336"/>
            <a:ext cx="4424228" cy="878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Tree>
    <p:extLst>
      <p:ext uri="{BB962C8B-B14F-4D97-AF65-F5344CB8AC3E}">
        <p14:creationId xmlns:p14="http://schemas.microsoft.com/office/powerpoint/2010/main" val="190028468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Four Sections" preserve="1" userDrawn="1">
  <p:cSld name="Four Sections">
    <p:spTree>
      <p:nvGrpSpPr>
        <p:cNvPr id="1" name="Shape 125"/>
        <p:cNvGrpSpPr/>
        <p:nvPr/>
      </p:nvGrpSpPr>
      <p:grpSpPr>
        <a:xfrm>
          <a:off x="0" y="0"/>
          <a:ext cx="0" cy="0"/>
          <a:chOff x="0" y="0"/>
          <a:chExt cx="0" cy="0"/>
        </a:xfrm>
      </p:grpSpPr>
      <p:sp>
        <p:nvSpPr>
          <p:cNvPr id="129" name="Google Shape;129;p19"/>
          <p:cNvSpPr>
            <a:spLocks noGrp="1"/>
          </p:cNvSpPr>
          <p:nvPr>
            <p:ph type="pic" idx="5"/>
          </p:nvPr>
        </p:nvSpPr>
        <p:spPr>
          <a:xfrm>
            <a:off x="0" y="0"/>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130" name="Google Shape;130;p19"/>
          <p:cNvSpPr/>
          <p:nvPr/>
        </p:nvSpPr>
        <p:spPr>
          <a:xfrm>
            <a:off x="9143381" y="2316915"/>
            <a:ext cx="3048000" cy="2256000"/>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1" name="Google Shape;131;p19"/>
          <p:cNvSpPr/>
          <p:nvPr/>
        </p:nvSpPr>
        <p:spPr>
          <a:xfrm>
            <a:off x="6090911" y="2316915"/>
            <a:ext cx="3048000" cy="2256000"/>
          </a:xfrm>
          <a:prstGeom prst="rect">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2" name="Google Shape;132;p19"/>
          <p:cNvSpPr/>
          <p:nvPr/>
        </p:nvSpPr>
        <p:spPr>
          <a:xfrm>
            <a:off x="3043533" y="2316915"/>
            <a:ext cx="3048000" cy="2256000"/>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3" name="Google Shape;133;p19"/>
          <p:cNvSpPr/>
          <p:nvPr/>
        </p:nvSpPr>
        <p:spPr>
          <a:xfrm>
            <a:off x="0" y="2316915"/>
            <a:ext cx="3048000" cy="2256000"/>
          </a:xfrm>
          <a:prstGeom prst="rect">
            <a:avLst/>
          </a:prstGeom>
          <a:gradFill>
            <a:gsLst>
              <a:gs pos="0">
                <a:srgbClr val="1F9CF0"/>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2" name="Group 1">
            <a:extLst>
              <a:ext uri="{FF2B5EF4-FFF2-40B4-BE49-F238E27FC236}">
                <a16:creationId xmlns:a16="http://schemas.microsoft.com/office/drawing/2014/main" id="{80DF5EDE-E7F7-6146-AC08-AF61888173CC}"/>
              </a:ext>
            </a:extLst>
          </p:cNvPr>
          <p:cNvGrpSpPr/>
          <p:nvPr userDrawn="1"/>
        </p:nvGrpSpPr>
        <p:grpSpPr>
          <a:xfrm>
            <a:off x="4090984" y="1843055"/>
            <a:ext cx="960400" cy="959200"/>
            <a:chOff x="3068238" y="1382291"/>
            <a:chExt cx="720300" cy="719400"/>
          </a:xfrm>
        </p:grpSpPr>
        <p:sp>
          <p:nvSpPr>
            <p:cNvPr id="134" name="Google Shape;134;p19"/>
            <p:cNvSpPr/>
            <p:nvPr/>
          </p:nvSpPr>
          <p:spPr>
            <a:xfrm>
              <a:off x="3068238" y="1382291"/>
              <a:ext cx="720300" cy="719400"/>
            </a:xfrm>
            <a:prstGeom prst="ellipse">
              <a:avLst/>
            </a:prstGeom>
            <a:solidFill>
              <a:schemeClr val="accent2">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5" name="Google Shape;135;p19"/>
            <p:cNvSpPr/>
            <p:nvPr userDrawn="1"/>
          </p:nvSpPr>
          <p:spPr>
            <a:xfrm>
              <a:off x="3190019" y="1504824"/>
              <a:ext cx="477600" cy="476700"/>
            </a:xfrm>
            <a:prstGeom prst="ellipse">
              <a:avLst/>
            </a:prstGeom>
            <a:solidFill>
              <a:schemeClr val="accent2"/>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 name="Group 3">
            <a:extLst>
              <a:ext uri="{FF2B5EF4-FFF2-40B4-BE49-F238E27FC236}">
                <a16:creationId xmlns:a16="http://schemas.microsoft.com/office/drawing/2014/main" id="{0E2775DA-4DCB-AD4E-B04F-182EF29AE8A8}"/>
              </a:ext>
            </a:extLst>
          </p:cNvPr>
          <p:cNvGrpSpPr/>
          <p:nvPr userDrawn="1"/>
        </p:nvGrpSpPr>
        <p:grpSpPr>
          <a:xfrm>
            <a:off x="10194080" y="1843055"/>
            <a:ext cx="960400" cy="959200"/>
            <a:chOff x="7645560" y="1382291"/>
            <a:chExt cx="720300" cy="719400"/>
          </a:xfrm>
        </p:grpSpPr>
        <p:sp>
          <p:nvSpPr>
            <p:cNvPr id="136" name="Google Shape;136;p19"/>
            <p:cNvSpPr/>
            <p:nvPr/>
          </p:nvSpPr>
          <p:spPr>
            <a:xfrm>
              <a:off x="7645560" y="1382291"/>
              <a:ext cx="720300" cy="719400"/>
            </a:xfrm>
            <a:prstGeom prst="ellipse">
              <a:avLst/>
            </a:prstGeom>
            <a:solidFill>
              <a:schemeClr val="accent2">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7" name="Google Shape;137;p19"/>
            <p:cNvSpPr/>
            <p:nvPr/>
          </p:nvSpPr>
          <p:spPr>
            <a:xfrm>
              <a:off x="7767340" y="1504824"/>
              <a:ext cx="477600" cy="476700"/>
            </a:xfrm>
            <a:prstGeom prst="ellipse">
              <a:avLst/>
            </a:prstGeom>
            <a:solidFill>
              <a:schemeClr val="accent2"/>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3" name="Group 2">
            <a:extLst>
              <a:ext uri="{FF2B5EF4-FFF2-40B4-BE49-F238E27FC236}">
                <a16:creationId xmlns:a16="http://schemas.microsoft.com/office/drawing/2014/main" id="{62153F02-68F3-1F42-A78B-072046ECEDD4}"/>
              </a:ext>
            </a:extLst>
          </p:cNvPr>
          <p:cNvGrpSpPr/>
          <p:nvPr userDrawn="1"/>
        </p:nvGrpSpPr>
        <p:grpSpPr>
          <a:xfrm>
            <a:off x="7143467" y="1843055"/>
            <a:ext cx="960400" cy="959200"/>
            <a:chOff x="5357600" y="1382291"/>
            <a:chExt cx="720300" cy="719400"/>
          </a:xfrm>
        </p:grpSpPr>
        <p:sp>
          <p:nvSpPr>
            <p:cNvPr id="138" name="Google Shape;138;p19"/>
            <p:cNvSpPr/>
            <p:nvPr/>
          </p:nvSpPr>
          <p:spPr>
            <a:xfrm>
              <a:off x="535760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9" name="Google Shape;139;p19"/>
            <p:cNvSpPr/>
            <p:nvPr/>
          </p:nvSpPr>
          <p:spPr>
            <a:xfrm>
              <a:off x="5479381"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147" name="Google Shape;147;p19"/>
          <p:cNvSpPr txBox="1">
            <a:spLocks noGrp="1"/>
          </p:cNvSpPr>
          <p:nvPr>
            <p:ph type="title"/>
          </p:nvPr>
        </p:nvSpPr>
        <p:spPr>
          <a:xfrm>
            <a:off x="451104" y="2804160"/>
            <a:ext cx="1182800" cy="524400"/>
          </a:xfrm>
          <a:prstGeom prst="rect">
            <a:avLst/>
          </a:prstGeom>
        </p:spPr>
        <p:txBody>
          <a:bodyPr spcFirstLastPara="1" wrap="square" lIns="45700" tIns="18275" rIns="45700" bIns="18275" anchor="t" anchorCtr="0">
            <a:noAutofit/>
          </a:bodyPr>
          <a:lstStyle>
            <a:lvl1pPr lvl="0">
              <a:lnSpc>
                <a:spcPct val="100000"/>
              </a:lnSpc>
              <a:spcBef>
                <a:spcPts val="0"/>
              </a:spcBef>
              <a:spcAft>
                <a:spcPts val="0"/>
              </a:spcAft>
              <a:buSzPts val="2300"/>
              <a:buNone/>
              <a:defRPr sz="3067" b="1" i="0">
                <a:latin typeface="Helvetica" pitchFamily="2" charset="0"/>
              </a:defRPr>
            </a:lvl1pPr>
            <a:lvl2pPr lvl="1">
              <a:lnSpc>
                <a:spcPct val="100000"/>
              </a:lnSpc>
              <a:spcBef>
                <a:spcPts val="0"/>
              </a:spcBef>
              <a:spcAft>
                <a:spcPts val="0"/>
              </a:spcAft>
              <a:buSzPts val="1400"/>
              <a:buNone/>
              <a:defRPr/>
            </a:lvl2pPr>
            <a:lvl3pPr lvl="2">
              <a:lnSpc>
                <a:spcPct val="100000"/>
              </a:lnSpc>
              <a:spcBef>
                <a:spcPts val="0"/>
              </a:spcBef>
              <a:spcAft>
                <a:spcPts val="0"/>
              </a:spcAft>
              <a:buSzPts val="1400"/>
              <a:buNone/>
              <a:defRPr/>
            </a:lvl3pPr>
            <a:lvl4pPr lvl="3">
              <a:lnSpc>
                <a:spcPct val="100000"/>
              </a:lnSpc>
              <a:spcBef>
                <a:spcPts val="0"/>
              </a:spcBef>
              <a:spcAft>
                <a:spcPts val="0"/>
              </a:spcAft>
              <a:buSzPts val="1400"/>
              <a:buNone/>
              <a:defRPr/>
            </a:lvl4pPr>
            <a:lvl5pPr lvl="4">
              <a:lnSpc>
                <a:spcPct val="100000"/>
              </a:lnSpc>
              <a:spcBef>
                <a:spcPts val="0"/>
              </a:spcBef>
              <a:spcAft>
                <a:spcPts val="0"/>
              </a:spcAft>
              <a:buSzPts val="1400"/>
              <a:buNone/>
              <a:defRPr/>
            </a:lvl5pPr>
            <a:lvl6pPr lvl="5">
              <a:lnSpc>
                <a:spcPct val="100000"/>
              </a:lnSpc>
              <a:spcBef>
                <a:spcPts val="0"/>
              </a:spcBef>
              <a:spcAft>
                <a:spcPts val="0"/>
              </a:spcAft>
              <a:buSzPts val="1400"/>
              <a:buNone/>
              <a:defRPr/>
            </a:lvl6pPr>
            <a:lvl7pPr lvl="6">
              <a:lnSpc>
                <a:spcPct val="100000"/>
              </a:lnSpc>
              <a:spcBef>
                <a:spcPts val="0"/>
              </a:spcBef>
              <a:spcAft>
                <a:spcPts val="0"/>
              </a:spcAft>
              <a:buSzPts val="1400"/>
              <a:buNone/>
              <a:defRPr/>
            </a:lvl7pPr>
            <a:lvl8pPr lvl="7">
              <a:lnSpc>
                <a:spcPct val="100000"/>
              </a:lnSpc>
              <a:spcBef>
                <a:spcPts val="0"/>
              </a:spcBef>
              <a:spcAft>
                <a:spcPts val="0"/>
              </a:spcAft>
              <a:buSzPts val="1400"/>
              <a:buNone/>
              <a:defRPr/>
            </a:lvl8pPr>
            <a:lvl9pPr lvl="8">
              <a:lnSpc>
                <a:spcPct val="100000"/>
              </a:lnSpc>
              <a:spcBef>
                <a:spcPts val="0"/>
              </a:spcBef>
              <a:spcAft>
                <a:spcPts val="0"/>
              </a:spcAft>
              <a:buSzPts val="1400"/>
              <a:buNone/>
              <a:defRPr/>
            </a:lvl9pPr>
          </a:lstStyle>
          <a:p>
            <a:endParaRPr/>
          </a:p>
        </p:txBody>
      </p:sp>
      <p:sp>
        <p:nvSpPr>
          <p:cNvPr id="148" name="Google Shape;148;p19"/>
          <p:cNvSpPr txBox="1">
            <a:spLocks noGrp="1"/>
          </p:cNvSpPr>
          <p:nvPr>
            <p:ph type="body" idx="1"/>
          </p:nvPr>
        </p:nvSpPr>
        <p:spPr>
          <a:xfrm>
            <a:off x="451104" y="3352800"/>
            <a:ext cx="16704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49" name="Google Shape;149;p19"/>
          <p:cNvSpPr txBox="1">
            <a:spLocks noGrp="1"/>
          </p:cNvSpPr>
          <p:nvPr>
            <p:ph type="body" idx="13"/>
          </p:nvPr>
        </p:nvSpPr>
        <p:spPr>
          <a:xfrm>
            <a:off x="451104" y="3645408"/>
            <a:ext cx="22556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50" name="Google Shape;150;p19"/>
          <p:cNvSpPr txBox="1">
            <a:spLocks noGrp="1"/>
          </p:cNvSpPr>
          <p:nvPr>
            <p:ph type="title" idx="14"/>
          </p:nvPr>
        </p:nvSpPr>
        <p:spPr>
          <a:xfrm>
            <a:off x="3596640"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51" name="Google Shape;151;p19"/>
          <p:cNvSpPr txBox="1">
            <a:spLocks noGrp="1"/>
          </p:cNvSpPr>
          <p:nvPr>
            <p:ph type="title" idx="15"/>
          </p:nvPr>
        </p:nvSpPr>
        <p:spPr>
          <a:xfrm>
            <a:off x="6547104"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2" name="Google Shape;152;p19"/>
          <p:cNvSpPr txBox="1">
            <a:spLocks noGrp="1"/>
          </p:cNvSpPr>
          <p:nvPr>
            <p:ph type="title" idx="16"/>
          </p:nvPr>
        </p:nvSpPr>
        <p:spPr>
          <a:xfrm>
            <a:off x="9595104"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19"/>
          <p:cNvSpPr txBox="1">
            <a:spLocks noGrp="1"/>
          </p:cNvSpPr>
          <p:nvPr>
            <p:ph type="body" idx="17"/>
          </p:nvPr>
        </p:nvSpPr>
        <p:spPr>
          <a:xfrm>
            <a:off x="3596637"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lnSpc>
                <a:spcPct val="100000"/>
              </a:lnSpc>
              <a:spcBef>
                <a:spcPts val="0"/>
              </a:spcBef>
              <a:spcAft>
                <a:spcPts val="0"/>
              </a:spcAft>
              <a:buSzPts val="800"/>
              <a:buChar char="○"/>
              <a:defRPr sz="1067"/>
            </a:lvl2pPr>
            <a:lvl3pPr marL="1828754" lvl="2" indent="-372524" rtl="0">
              <a:lnSpc>
                <a:spcPct val="100000"/>
              </a:lnSpc>
              <a:spcBef>
                <a:spcPts val="0"/>
              </a:spcBef>
              <a:spcAft>
                <a:spcPts val="0"/>
              </a:spcAft>
              <a:buSzPts val="800"/>
              <a:buChar char="■"/>
              <a:defRPr sz="1067"/>
            </a:lvl3pPr>
            <a:lvl4pPr marL="2438339" lvl="3" indent="-372524" rtl="0">
              <a:lnSpc>
                <a:spcPct val="100000"/>
              </a:lnSpc>
              <a:spcBef>
                <a:spcPts val="0"/>
              </a:spcBef>
              <a:spcAft>
                <a:spcPts val="0"/>
              </a:spcAft>
              <a:buSzPts val="800"/>
              <a:buChar char="●"/>
              <a:defRPr sz="1067"/>
            </a:lvl4pPr>
            <a:lvl5pPr marL="3047924" lvl="4" indent="-372524" rtl="0">
              <a:lnSpc>
                <a:spcPct val="100000"/>
              </a:lnSpc>
              <a:spcBef>
                <a:spcPts val="0"/>
              </a:spcBef>
              <a:spcAft>
                <a:spcPts val="0"/>
              </a:spcAft>
              <a:buSzPts val="800"/>
              <a:buChar char="○"/>
              <a:defRPr sz="1067"/>
            </a:lvl5pPr>
            <a:lvl6pPr marL="3657509" lvl="5" indent="-372524" rtl="0">
              <a:lnSpc>
                <a:spcPct val="100000"/>
              </a:lnSpc>
              <a:spcBef>
                <a:spcPts val="0"/>
              </a:spcBef>
              <a:spcAft>
                <a:spcPts val="0"/>
              </a:spcAft>
              <a:buSzPts val="800"/>
              <a:buChar char="■"/>
              <a:defRPr sz="1067"/>
            </a:lvl6pPr>
            <a:lvl7pPr marL="4267093" lvl="6" indent="-372524" rtl="0">
              <a:lnSpc>
                <a:spcPct val="100000"/>
              </a:lnSpc>
              <a:spcBef>
                <a:spcPts val="0"/>
              </a:spcBef>
              <a:spcAft>
                <a:spcPts val="0"/>
              </a:spcAft>
              <a:buSzPts val="800"/>
              <a:buChar char="●"/>
              <a:defRPr sz="1067"/>
            </a:lvl7pPr>
            <a:lvl8pPr marL="4876678" lvl="7" indent="-372524" rtl="0">
              <a:lnSpc>
                <a:spcPct val="100000"/>
              </a:lnSpc>
              <a:spcBef>
                <a:spcPts val="0"/>
              </a:spcBef>
              <a:spcAft>
                <a:spcPts val="0"/>
              </a:spcAft>
              <a:buSzPts val="800"/>
              <a:buChar char="○"/>
              <a:defRPr sz="1067"/>
            </a:lvl8pPr>
            <a:lvl9pPr marL="5486263" lvl="8" indent="-372524" rtl="0">
              <a:lnSpc>
                <a:spcPct val="100000"/>
              </a:lnSpc>
              <a:spcBef>
                <a:spcPts val="0"/>
              </a:spcBef>
              <a:spcAft>
                <a:spcPts val="0"/>
              </a:spcAft>
              <a:buSzPts val="800"/>
              <a:buChar char="■"/>
              <a:defRPr sz="1067"/>
            </a:lvl9pPr>
          </a:lstStyle>
          <a:p>
            <a:endParaRPr/>
          </a:p>
        </p:txBody>
      </p:sp>
      <p:sp>
        <p:nvSpPr>
          <p:cNvPr id="154" name="Google Shape;154;p19"/>
          <p:cNvSpPr txBox="1">
            <a:spLocks noGrp="1"/>
          </p:cNvSpPr>
          <p:nvPr>
            <p:ph type="body" idx="18"/>
          </p:nvPr>
        </p:nvSpPr>
        <p:spPr>
          <a:xfrm>
            <a:off x="3596637" y="3657600"/>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5" name="Google Shape;155;p19"/>
          <p:cNvSpPr txBox="1">
            <a:spLocks noGrp="1"/>
          </p:cNvSpPr>
          <p:nvPr>
            <p:ph type="body" idx="19"/>
          </p:nvPr>
        </p:nvSpPr>
        <p:spPr>
          <a:xfrm>
            <a:off x="6547104"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6" name="Google Shape;156;p19"/>
          <p:cNvSpPr txBox="1">
            <a:spLocks noGrp="1"/>
          </p:cNvSpPr>
          <p:nvPr>
            <p:ph type="body" idx="20"/>
          </p:nvPr>
        </p:nvSpPr>
        <p:spPr>
          <a:xfrm>
            <a:off x="6547104" y="3645408"/>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7" name="Google Shape;157;p19"/>
          <p:cNvSpPr txBox="1">
            <a:spLocks noGrp="1"/>
          </p:cNvSpPr>
          <p:nvPr>
            <p:ph type="body" idx="21"/>
          </p:nvPr>
        </p:nvSpPr>
        <p:spPr>
          <a:xfrm>
            <a:off x="9595104"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8" name="Google Shape;158;p19"/>
          <p:cNvSpPr txBox="1">
            <a:spLocks noGrp="1"/>
          </p:cNvSpPr>
          <p:nvPr>
            <p:ph type="body" idx="22"/>
          </p:nvPr>
        </p:nvSpPr>
        <p:spPr>
          <a:xfrm>
            <a:off x="9595104" y="3645408"/>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grpSp>
        <p:nvGrpSpPr>
          <p:cNvPr id="39" name="Google Shape;115;p18">
            <a:extLst>
              <a:ext uri="{FF2B5EF4-FFF2-40B4-BE49-F238E27FC236}">
                <a16:creationId xmlns:a16="http://schemas.microsoft.com/office/drawing/2014/main" id="{2CABBAFB-D7E4-4946-8936-326967B61E08}"/>
              </a:ext>
            </a:extLst>
          </p:cNvPr>
          <p:cNvGrpSpPr/>
          <p:nvPr userDrawn="1"/>
        </p:nvGrpSpPr>
        <p:grpSpPr>
          <a:xfrm>
            <a:off x="966936" y="1845015"/>
            <a:ext cx="960595" cy="958631"/>
            <a:chOff x="8210789" y="6930887"/>
            <a:chExt cx="1081200" cy="1080600"/>
          </a:xfrm>
        </p:grpSpPr>
        <p:sp>
          <p:nvSpPr>
            <p:cNvPr id="40" name="Google Shape;116;p18">
              <a:extLst>
                <a:ext uri="{FF2B5EF4-FFF2-40B4-BE49-F238E27FC236}">
                  <a16:creationId xmlns:a16="http://schemas.microsoft.com/office/drawing/2014/main" id="{927C82E0-53EB-9E40-B93B-79D8C7C49530}"/>
                </a:ext>
              </a:extLst>
            </p:cNvPr>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1" name="Google Shape;117;p18">
              <a:extLst>
                <a:ext uri="{FF2B5EF4-FFF2-40B4-BE49-F238E27FC236}">
                  <a16:creationId xmlns:a16="http://schemas.microsoft.com/office/drawing/2014/main" id="{33518440-89C6-C546-AC7B-32EBE9911FC2}"/>
                </a:ext>
              </a:extLst>
            </p:cNvPr>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42" name="Google Shape;122;p18">
            <a:extLst>
              <a:ext uri="{FF2B5EF4-FFF2-40B4-BE49-F238E27FC236}">
                <a16:creationId xmlns:a16="http://schemas.microsoft.com/office/drawing/2014/main" id="{770EE0F9-203B-9148-A3BA-831953FEF71D}"/>
              </a:ext>
            </a:extLst>
          </p:cNvPr>
          <p:cNvSpPr>
            <a:spLocks noGrp="1"/>
          </p:cNvSpPr>
          <p:nvPr>
            <p:ph type="pic" idx="23"/>
          </p:nvPr>
        </p:nvSpPr>
        <p:spPr>
          <a:xfrm>
            <a:off x="1208667" y="2085763"/>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43" name="Google Shape;122;p18">
            <a:extLst>
              <a:ext uri="{FF2B5EF4-FFF2-40B4-BE49-F238E27FC236}">
                <a16:creationId xmlns:a16="http://schemas.microsoft.com/office/drawing/2014/main" id="{52D48A92-2A8E-B74F-BE4F-4C31A91841AA}"/>
              </a:ext>
            </a:extLst>
          </p:cNvPr>
          <p:cNvSpPr>
            <a:spLocks noGrp="1"/>
          </p:cNvSpPr>
          <p:nvPr>
            <p:ph type="pic" idx="24"/>
          </p:nvPr>
        </p:nvSpPr>
        <p:spPr>
          <a:xfrm>
            <a:off x="4332618"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49" name="Google Shape;122;p18">
            <a:extLst>
              <a:ext uri="{FF2B5EF4-FFF2-40B4-BE49-F238E27FC236}">
                <a16:creationId xmlns:a16="http://schemas.microsoft.com/office/drawing/2014/main" id="{8125D358-82E1-5146-9868-59151E4787F5}"/>
              </a:ext>
            </a:extLst>
          </p:cNvPr>
          <p:cNvSpPr>
            <a:spLocks noGrp="1"/>
          </p:cNvSpPr>
          <p:nvPr>
            <p:ph type="pic" idx="25"/>
          </p:nvPr>
        </p:nvSpPr>
        <p:spPr>
          <a:xfrm>
            <a:off x="7385101"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50" name="Google Shape;122;p18">
            <a:extLst>
              <a:ext uri="{FF2B5EF4-FFF2-40B4-BE49-F238E27FC236}">
                <a16:creationId xmlns:a16="http://schemas.microsoft.com/office/drawing/2014/main" id="{D612543C-1131-2740-B754-942B3C674732}"/>
              </a:ext>
            </a:extLst>
          </p:cNvPr>
          <p:cNvSpPr>
            <a:spLocks noGrp="1"/>
          </p:cNvSpPr>
          <p:nvPr>
            <p:ph type="pic" idx="26"/>
          </p:nvPr>
        </p:nvSpPr>
        <p:spPr>
          <a:xfrm>
            <a:off x="10435714"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51" name="Google Shape;129;p19">
            <a:extLst>
              <a:ext uri="{FF2B5EF4-FFF2-40B4-BE49-F238E27FC236}">
                <a16:creationId xmlns:a16="http://schemas.microsoft.com/office/drawing/2014/main" id="{D02644DB-3AB0-6A40-906C-1B97F6BB74DF}"/>
              </a:ext>
            </a:extLst>
          </p:cNvPr>
          <p:cNvSpPr>
            <a:spLocks noGrp="1"/>
          </p:cNvSpPr>
          <p:nvPr>
            <p:ph type="pic" idx="27"/>
          </p:nvPr>
        </p:nvSpPr>
        <p:spPr>
          <a:xfrm>
            <a:off x="6090911" y="0"/>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52" name="Google Shape;129;p19">
            <a:extLst>
              <a:ext uri="{FF2B5EF4-FFF2-40B4-BE49-F238E27FC236}">
                <a16:creationId xmlns:a16="http://schemas.microsoft.com/office/drawing/2014/main" id="{183614BC-81FB-DD41-94B5-38C9366C2FD7}"/>
              </a:ext>
            </a:extLst>
          </p:cNvPr>
          <p:cNvSpPr>
            <a:spLocks noGrp="1"/>
          </p:cNvSpPr>
          <p:nvPr>
            <p:ph type="pic" idx="28"/>
          </p:nvPr>
        </p:nvSpPr>
        <p:spPr>
          <a:xfrm>
            <a:off x="3043533" y="4559808"/>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53" name="Google Shape;129;p19">
            <a:extLst>
              <a:ext uri="{FF2B5EF4-FFF2-40B4-BE49-F238E27FC236}">
                <a16:creationId xmlns:a16="http://schemas.microsoft.com/office/drawing/2014/main" id="{DE9CF3D8-208C-EF41-A2C5-9CB01676BFCD}"/>
              </a:ext>
            </a:extLst>
          </p:cNvPr>
          <p:cNvSpPr>
            <a:spLocks noGrp="1"/>
          </p:cNvSpPr>
          <p:nvPr>
            <p:ph type="pic" idx="29"/>
          </p:nvPr>
        </p:nvSpPr>
        <p:spPr>
          <a:xfrm>
            <a:off x="9147781" y="4559808"/>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Tree>
    <p:extLst>
      <p:ext uri="{BB962C8B-B14F-4D97-AF65-F5344CB8AC3E}">
        <p14:creationId xmlns:p14="http://schemas.microsoft.com/office/powerpoint/2010/main" val="32347840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Subsection Cover F" preserve="1" userDrawn="1">
  <p:cSld name="Subsection Cover F">
    <p:spTree>
      <p:nvGrpSpPr>
        <p:cNvPr id="1" name="Shape 198"/>
        <p:cNvGrpSpPr/>
        <p:nvPr/>
      </p:nvGrpSpPr>
      <p:grpSpPr>
        <a:xfrm>
          <a:off x="0" y="0"/>
          <a:ext cx="0" cy="0"/>
          <a:chOff x="0" y="0"/>
          <a:chExt cx="0" cy="0"/>
        </a:xfrm>
      </p:grpSpPr>
      <p:pic>
        <p:nvPicPr>
          <p:cNvPr id="199" name="Google Shape;199;p22"/>
          <p:cNvPicPr preferRelativeResize="0"/>
          <p:nvPr/>
        </p:nvPicPr>
        <p:blipFill>
          <a:blip r:embed="rId2">
            <a:alphaModFix/>
          </a:blip>
          <a:stretch>
            <a:fillRect/>
          </a:stretch>
        </p:blipFill>
        <p:spPr>
          <a:xfrm>
            <a:off x="-1555012" y="-1630733"/>
            <a:ext cx="6851291" cy="6858001"/>
          </a:xfrm>
          <a:prstGeom prst="rect">
            <a:avLst/>
          </a:prstGeom>
          <a:noFill/>
          <a:ln>
            <a:noFill/>
          </a:ln>
        </p:spPr>
      </p:pic>
      <p:sp>
        <p:nvSpPr>
          <p:cNvPr id="200" name="Google Shape;200;p22"/>
          <p:cNvSpPr/>
          <p:nvPr/>
        </p:nvSpPr>
        <p:spPr>
          <a:xfrm>
            <a:off x="-441636" y="863252"/>
            <a:ext cx="8552400" cy="8539200"/>
          </a:xfrm>
          <a:prstGeom prst="ellipse">
            <a:avLst/>
          </a:prstGeom>
          <a:gradFill>
            <a:gsLst>
              <a:gs pos="0">
                <a:srgbClr val="1F9CF0"/>
              </a:gs>
              <a:gs pos="72000">
                <a:srgbClr val="007ACC">
                  <a:alpha val="23529"/>
                </a:srgbClr>
              </a:gs>
              <a:gs pos="100000">
                <a:srgbClr val="007ACC">
                  <a:alpha val="23529"/>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01" name="Google Shape;201;p22"/>
          <p:cNvPicPr preferRelativeResize="0"/>
          <p:nvPr/>
        </p:nvPicPr>
        <p:blipFill rotWithShape="1">
          <a:blip r:embed="rId3">
            <a:alphaModFix amt="30000"/>
          </a:blip>
          <a:srcRect/>
          <a:stretch/>
        </p:blipFill>
        <p:spPr>
          <a:xfrm>
            <a:off x="9212741" y="1496426"/>
            <a:ext cx="5016492" cy="5016492"/>
          </a:xfrm>
          <a:prstGeom prst="rect">
            <a:avLst/>
          </a:prstGeom>
          <a:noFill/>
          <a:ln>
            <a:noFill/>
          </a:ln>
        </p:spPr>
      </p:pic>
      <p:pic>
        <p:nvPicPr>
          <p:cNvPr id="202" name="Google Shape;202;p22"/>
          <p:cNvPicPr preferRelativeResize="0"/>
          <p:nvPr/>
        </p:nvPicPr>
        <p:blipFill rotWithShape="1">
          <a:blip r:embed="rId3">
            <a:alphaModFix amt="30000"/>
          </a:blip>
          <a:srcRect/>
          <a:stretch/>
        </p:blipFill>
        <p:spPr>
          <a:xfrm>
            <a:off x="1362931" y="5237851"/>
            <a:ext cx="5016492" cy="5016492"/>
          </a:xfrm>
          <a:prstGeom prst="rect">
            <a:avLst/>
          </a:prstGeom>
          <a:noFill/>
          <a:ln>
            <a:noFill/>
          </a:ln>
        </p:spPr>
      </p:pic>
      <p:sp>
        <p:nvSpPr>
          <p:cNvPr id="203" name="Google Shape;203;p22"/>
          <p:cNvSpPr/>
          <p:nvPr/>
        </p:nvSpPr>
        <p:spPr>
          <a:xfrm>
            <a:off x="-460055" y="306917"/>
            <a:ext cx="1471600" cy="1469600"/>
          </a:xfrm>
          <a:prstGeom prst="ellipse">
            <a:avLst/>
          </a:prstGeom>
          <a:gradFill>
            <a:gsLst>
              <a:gs pos="0">
                <a:srgbClr val="D59DFF">
                  <a:alpha val="21960"/>
                </a:srgbClr>
              </a:gs>
              <a:gs pos="100000">
                <a:srgbClr val="161828">
                  <a:alpha val="55294"/>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04" name="Google Shape;204;p22"/>
          <p:cNvPicPr preferRelativeResize="0"/>
          <p:nvPr/>
        </p:nvPicPr>
        <p:blipFill>
          <a:blip r:embed="rId4">
            <a:alphaModFix/>
          </a:blip>
          <a:stretch>
            <a:fillRect/>
          </a:stretch>
        </p:blipFill>
        <p:spPr>
          <a:xfrm>
            <a:off x="6325443" y="3520534"/>
            <a:ext cx="2146735" cy="2647668"/>
          </a:xfrm>
          <a:prstGeom prst="rect">
            <a:avLst/>
          </a:prstGeom>
          <a:noFill/>
          <a:ln>
            <a:noFill/>
          </a:ln>
        </p:spPr>
      </p:pic>
      <p:sp>
        <p:nvSpPr>
          <p:cNvPr id="205" name="Google Shape;205;p22"/>
          <p:cNvSpPr/>
          <p:nvPr/>
        </p:nvSpPr>
        <p:spPr>
          <a:xfrm rot="10800000">
            <a:off x="1331867" y="133"/>
            <a:ext cx="97600" cy="45460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206" name="Google Shape;206;p22"/>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12" name="Google Shape;196;p21">
            <a:extLst>
              <a:ext uri="{FF2B5EF4-FFF2-40B4-BE49-F238E27FC236}">
                <a16:creationId xmlns:a16="http://schemas.microsoft.com/office/drawing/2014/main" id="{21617290-5BA6-E043-927A-954A333996EA}"/>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 name="Google Shape;197;p21">
            <a:extLst>
              <a:ext uri="{FF2B5EF4-FFF2-40B4-BE49-F238E27FC236}">
                <a16:creationId xmlns:a16="http://schemas.microsoft.com/office/drawing/2014/main" id="{2198EE9C-6D95-BE49-B93E-3C11A582D724}"/>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9544084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matchingName="Subsection Cover D" preserve="1" userDrawn="1">
  <p:cSld name="Subsection Cover D">
    <p:spTree>
      <p:nvGrpSpPr>
        <p:cNvPr id="1" name="Shape 209"/>
        <p:cNvGrpSpPr/>
        <p:nvPr/>
      </p:nvGrpSpPr>
      <p:grpSpPr>
        <a:xfrm>
          <a:off x="0" y="0"/>
          <a:ext cx="0" cy="0"/>
          <a:chOff x="0" y="0"/>
          <a:chExt cx="0" cy="0"/>
        </a:xfrm>
      </p:grpSpPr>
      <p:sp>
        <p:nvSpPr>
          <p:cNvPr id="210" name="Google Shape;210;p23"/>
          <p:cNvSpPr/>
          <p:nvPr/>
        </p:nvSpPr>
        <p:spPr>
          <a:xfrm>
            <a:off x="-2846384" y="309777"/>
            <a:ext cx="8119600" cy="81072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11" name="Google Shape;211;p23"/>
          <p:cNvSpPr/>
          <p:nvPr/>
        </p:nvSpPr>
        <p:spPr>
          <a:xfrm>
            <a:off x="-441636" y="-840651"/>
            <a:ext cx="8552400" cy="8539200"/>
          </a:xfrm>
          <a:prstGeom prst="ellipse">
            <a:avLst/>
          </a:prstGeom>
          <a:gradFill>
            <a:gsLst>
              <a:gs pos="0">
                <a:schemeClr val="accent4"/>
              </a:gs>
              <a:gs pos="72000">
                <a:srgbClr val="9477E2">
                  <a:alpha val="50196"/>
                </a:srgbClr>
              </a:gs>
              <a:gs pos="100000">
                <a:srgbClr val="9477E2">
                  <a:alpha val="50196"/>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12" name="Google Shape;212;p23"/>
          <p:cNvPicPr preferRelativeResize="0"/>
          <p:nvPr/>
        </p:nvPicPr>
        <p:blipFill rotWithShape="1">
          <a:blip r:embed="rId2">
            <a:alphaModFix amt="30000"/>
          </a:blip>
          <a:srcRect/>
          <a:stretch/>
        </p:blipFill>
        <p:spPr>
          <a:xfrm>
            <a:off x="9212741" y="1496426"/>
            <a:ext cx="5016492" cy="5016492"/>
          </a:xfrm>
          <a:prstGeom prst="rect">
            <a:avLst/>
          </a:prstGeom>
          <a:noFill/>
          <a:ln>
            <a:noFill/>
          </a:ln>
        </p:spPr>
      </p:pic>
      <p:sp>
        <p:nvSpPr>
          <p:cNvPr id="213" name="Google Shape;213;p23"/>
          <p:cNvSpPr/>
          <p:nvPr/>
        </p:nvSpPr>
        <p:spPr>
          <a:xfrm>
            <a:off x="6525728" y="493829"/>
            <a:ext cx="2150000" cy="21464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14" name="Google Shape;214;p23"/>
          <p:cNvPicPr preferRelativeResize="0"/>
          <p:nvPr/>
        </p:nvPicPr>
        <p:blipFill rotWithShape="1">
          <a:blip r:embed="rId2">
            <a:alphaModFix amt="30000"/>
          </a:blip>
          <a:srcRect/>
          <a:stretch/>
        </p:blipFill>
        <p:spPr>
          <a:xfrm>
            <a:off x="1362931" y="5237851"/>
            <a:ext cx="5016492" cy="5016492"/>
          </a:xfrm>
          <a:prstGeom prst="rect">
            <a:avLst/>
          </a:prstGeom>
          <a:noFill/>
          <a:ln>
            <a:noFill/>
          </a:ln>
        </p:spPr>
      </p:pic>
      <p:sp>
        <p:nvSpPr>
          <p:cNvPr id="215" name="Google Shape;215;p23"/>
          <p:cNvSpPr/>
          <p:nvPr/>
        </p:nvSpPr>
        <p:spPr>
          <a:xfrm>
            <a:off x="5567845" y="389893"/>
            <a:ext cx="811600" cy="810400"/>
          </a:xfrm>
          <a:prstGeom prst="ellipse">
            <a:avLst/>
          </a:prstGeom>
          <a:gradFill>
            <a:gsLst>
              <a:gs pos="0">
                <a:srgbClr val="007ACC">
                  <a:alpha val="14901"/>
                </a:srgbClr>
              </a:gs>
              <a:gs pos="100000">
                <a:srgbClr val="1F9CF0"/>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16" name="Google Shape;216;p23"/>
          <p:cNvSpPr/>
          <p:nvPr/>
        </p:nvSpPr>
        <p:spPr>
          <a:xfrm rot="10800000">
            <a:off x="1331867" y="133"/>
            <a:ext cx="97600" cy="45460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217" name="Google Shape;217;p23"/>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12" name="Google Shape;196;p21">
            <a:extLst>
              <a:ext uri="{FF2B5EF4-FFF2-40B4-BE49-F238E27FC236}">
                <a16:creationId xmlns:a16="http://schemas.microsoft.com/office/drawing/2014/main" id="{0D5A692D-5E2C-3545-9A63-90E5192CEDE4}"/>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 name="Google Shape;197;p21">
            <a:extLst>
              <a:ext uri="{FF2B5EF4-FFF2-40B4-BE49-F238E27FC236}">
                <a16:creationId xmlns:a16="http://schemas.microsoft.com/office/drawing/2014/main" id="{50A9DFC3-AEA3-C846-8DCB-4FA6A6FC54E9}"/>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0112622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96003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matchingName="Subsection Cover A" preserve="1" userDrawn="1">
  <p:cSld name="Subsection Cover A">
    <p:spTree>
      <p:nvGrpSpPr>
        <p:cNvPr id="1" name="Shape 220"/>
        <p:cNvGrpSpPr/>
        <p:nvPr/>
      </p:nvGrpSpPr>
      <p:grpSpPr>
        <a:xfrm>
          <a:off x="0" y="0"/>
          <a:ext cx="0" cy="0"/>
          <a:chOff x="0" y="0"/>
          <a:chExt cx="0" cy="0"/>
        </a:xfrm>
      </p:grpSpPr>
      <p:cxnSp>
        <p:nvCxnSpPr>
          <p:cNvPr id="10" name="Google Shape;67;p15">
            <a:extLst>
              <a:ext uri="{FF2B5EF4-FFF2-40B4-BE49-F238E27FC236}">
                <a16:creationId xmlns:a16="http://schemas.microsoft.com/office/drawing/2014/main" id="{D0C05BEA-A12F-824C-AF6C-CA9F6A8FC070}"/>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56;p14">
            <a:extLst>
              <a:ext uri="{FF2B5EF4-FFF2-40B4-BE49-F238E27FC236}">
                <a16:creationId xmlns:a16="http://schemas.microsoft.com/office/drawing/2014/main" id="{7E75F73F-89E2-4544-8CB2-0FA2869C704B}"/>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pic>
        <p:nvPicPr>
          <p:cNvPr id="221" name="Google Shape;221;p24"/>
          <p:cNvPicPr preferRelativeResize="0"/>
          <p:nvPr/>
        </p:nvPicPr>
        <p:blipFill rotWithShape="1">
          <a:blip r:embed="rId2">
            <a:alphaModFix/>
          </a:blip>
          <a:srcRect/>
          <a:stretch/>
        </p:blipFill>
        <p:spPr>
          <a:xfrm>
            <a:off x="3760933" y="1"/>
            <a:ext cx="8431067" cy="6858001"/>
          </a:xfrm>
          <a:prstGeom prst="rect">
            <a:avLst/>
          </a:prstGeom>
          <a:noFill/>
          <a:ln>
            <a:noFill/>
          </a:ln>
        </p:spPr>
      </p:pic>
      <p:pic>
        <p:nvPicPr>
          <p:cNvPr id="222" name="Google Shape;222;p24"/>
          <p:cNvPicPr preferRelativeResize="0"/>
          <p:nvPr/>
        </p:nvPicPr>
        <p:blipFill rotWithShape="1">
          <a:blip r:embed="rId3">
            <a:alphaModFix amt="30000"/>
          </a:blip>
          <a:srcRect/>
          <a:stretch/>
        </p:blipFill>
        <p:spPr>
          <a:xfrm>
            <a:off x="-4218439" y="920754"/>
            <a:ext cx="5016492" cy="5016492"/>
          </a:xfrm>
          <a:prstGeom prst="rect">
            <a:avLst/>
          </a:prstGeom>
          <a:noFill/>
          <a:ln>
            <a:noFill/>
          </a:ln>
        </p:spPr>
      </p:pic>
      <p:cxnSp>
        <p:nvCxnSpPr>
          <p:cNvPr id="223" name="Google Shape;223;p24"/>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224" name="Google Shape;224;p24"/>
          <p:cNvSpPr/>
          <p:nvPr/>
        </p:nvSpPr>
        <p:spPr>
          <a:xfrm rot="10800000">
            <a:off x="1331867" y="67"/>
            <a:ext cx="97600" cy="45260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8" name="Google Shape;196;p21">
            <a:extLst>
              <a:ext uri="{FF2B5EF4-FFF2-40B4-BE49-F238E27FC236}">
                <a16:creationId xmlns:a16="http://schemas.microsoft.com/office/drawing/2014/main" id="{DD23A2E5-7DF9-3E42-8FF7-1F52FA94B039}"/>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 name="Google Shape;197;p21">
            <a:extLst>
              <a:ext uri="{FF2B5EF4-FFF2-40B4-BE49-F238E27FC236}">
                <a16:creationId xmlns:a16="http://schemas.microsoft.com/office/drawing/2014/main" id="{E86E1330-9ED2-2645-B516-145C6EB98F8A}"/>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341408857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matchingName="Subsection Cover C" preserve="1" userDrawn="1">
  <p:cSld name="Subsection Cover C">
    <p:spTree>
      <p:nvGrpSpPr>
        <p:cNvPr id="1" name="Shape 605"/>
        <p:cNvGrpSpPr/>
        <p:nvPr/>
      </p:nvGrpSpPr>
      <p:grpSpPr>
        <a:xfrm>
          <a:off x="0" y="0"/>
          <a:ext cx="0" cy="0"/>
          <a:chOff x="0" y="0"/>
          <a:chExt cx="0" cy="0"/>
        </a:xfrm>
      </p:grpSpPr>
      <p:cxnSp>
        <p:nvCxnSpPr>
          <p:cNvPr id="13" name="Google Shape;67;p15">
            <a:extLst>
              <a:ext uri="{FF2B5EF4-FFF2-40B4-BE49-F238E27FC236}">
                <a16:creationId xmlns:a16="http://schemas.microsoft.com/office/drawing/2014/main" id="{B3289E93-2F80-8F42-82CE-264F7C038480}"/>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4" name="Google Shape;56;p14">
            <a:extLst>
              <a:ext uri="{FF2B5EF4-FFF2-40B4-BE49-F238E27FC236}">
                <a16:creationId xmlns:a16="http://schemas.microsoft.com/office/drawing/2014/main" id="{22260717-A764-5643-AC07-8F20D680F53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608" name="Google Shape;608;p40"/>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609" name="Google Shape;609;p40"/>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10" name="Google Shape;610;p40"/>
          <p:cNvPicPr preferRelativeResize="0"/>
          <p:nvPr/>
        </p:nvPicPr>
        <p:blipFill rotWithShape="1">
          <a:blip r:embed="rId2">
            <a:alphaModFix/>
          </a:blip>
          <a:srcRect t="901" r="941"/>
          <a:stretch/>
        </p:blipFill>
        <p:spPr>
          <a:xfrm>
            <a:off x="3811327" y="0"/>
            <a:ext cx="8367717" cy="6858003"/>
          </a:xfrm>
          <a:prstGeom prst="rect">
            <a:avLst/>
          </a:prstGeom>
          <a:noFill/>
          <a:ln>
            <a:noFill/>
          </a:ln>
        </p:spPr>
      </p:pic>
      <p:pic>
        <p:nvPicPr>
          <p:cNvPr id="611" name="Google Shape;611;p40"/>
          <p:cNvPicPr preferRelativeResize="0"/>
          <p:nvPr/>
        </p:nvPicPr>
        <p:blipFill rotWithShape="1">
          <a:blip r:embed="rId3">
            <a:alphaModFix amt="30000"/>
          </a:blip>
          <a:srcRect/>
          <a:stretch/>
        </p:blipFill>
        <p:spPr>
          <a:xfrm>
            <a:off x="-4218439" y="920754"/>
            <a:ext cx="5016492" cy="5016492"/>
          </a:xfrm>
          <a:prstGeom prst="rect">
            <a:avLst/>
          </a:prstGeom>
          <a:noFill/>
          <a:ln>
            <a:noFill/>
          </a:ln>
        </p:spPr>
      </p:pic>
      <p:sp>
        <p:nvSpPr>
          <p:cNvPr id="614" name="Google Shape;614;p40"/>
          <p:cNvSpPr/>
          <p:nvPr/>
        </p:nvSpPr>
        <p:spPr>
          <a:xfrm rot="10800000">
            <a:off x="1331867" y="333"/>
            <a:ext cx="97600" cy="4535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11" name="Google Shape;196;p21">
            <a:extLst>
              <a:ext uri="{FF2B5EF4-FFF2-40B4-BE49-F238E27FC236}">
                <a16:creationId xmlns:a16="http://schemas.microsoft.com/office/drawing/2014/main" id="{6FAE51A8-BD8E-3E44-B52C-3D0D2FEA3A8F}"/>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 name="Google Shape;197;p21">
            <a:extLst>
              <a:ext uri="{FF2B5EF4-FFF2-40B4-BE49-F238E27FC236}">
                <a16:creationId xmlns:a16="http://schemas.microsoft.com/office/drawing/2014/main" id="{7547AEDB-C4CC-B049-8D2A-220A88AC2505}"/>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lang="en-US"/>
          </a:p>
        </p:txBody>
      </p:sp>
    </p:spTree>
    <p:extLst>
      <p:ext uri="{BB962C8B-B14F-4D97-AF65-F5344CB8AC3E}">
        <p14:creationId xmlns:p14="http://schemas.microsoft.com/office/powerpoint/2010/main" val="25133437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matchingName="Speaker Intro" preserve="1">
  <p:cSld name="Speaker Intro">
    <p:spTree>
      <p:nvGrpSpPr>
        <p:cNvPr id="1" name="Shape 255"/>
        <p:cNvGrpSpPr/>
        <p:nvPr/>
      </p:nvGrpSpPr>
      <p:grpSpPr>
        <a:xfrm>
          <a:off x="0" y="0"/>
          <a:ext cx="0" cy="0"/>
          <a:chOff x="0" y="0"/>
          <a:chExt cx="0" cy="0"/>
        </a:xfrm>
      </p:grpSpPr>
      <p:cxnSp>
        <p:nvCxnSpPr>
          <p:cNvPr id="11" name="Google Shape;67;p15">
            <a:extLst>
              <a:ext uri="{FF2B5EF4-FFF2-40B4-BE49-F238E27FC236}">
                <a16:creationId xmlns:a16="http://schemas.microsoft.com/office/drawing/2014/main" id="{C7784FB6-741B-9D49-B3F9-9C37B009343C}"/>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2" name="Google Shape;56;p14">
            <a:extLst>
              <a:ext uri="{FF2B5EF4-FFF2-40B4-BE49-F238E27FC236}">
                <a16:creationId xmlns:a16="http://schemas.microsoft.com/office/drawing/2014/main" id="{B9170CBC-23D1-E14C-AD47-844FCBA3A02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pic>
        <p:nvPicPr>
          <p:cNvPr id="256" name="Google Shape;256;p26" descr="A picture containing logo&#10;&#10;Description automatically generated"/>
          <p:cNvPicPr preferRelativeResize="0"/>
          <p:nvPr/>
        </p:nvPicPr>
        <p:blipFill rotWithShape="1">
          <a:blip r:embed="rId2">
            <a:alphaModFix/>
          </a:blip>
          <a:srcRect/>
          <a:stretch/>
        </p:blipFill>
        <p:spPr>
          <a:xfrm flipH="1">
            <a:off x="4330450" y="-3437"/>
            <a:ext cx="7846684" cy="6858001"/>
          </a:xfrm>
          <a:prstGeom prst="rect">
            <a:avLst/>
          </a:prstGeom>
          <a:noFill/>
          <a:ln>
            <a:noFill/>
          </a:ln>
        </p:spPr>
      </p:pic>
      <p:sp>
        <p:nvSpPr>
          <p:cNvPr id="257" name="Google Shape;257;p26"/>
          <p:cNvSpPr/>
          <p:nvPr/>
        </p:nvSpPr>
        <p:spPr>
          <a:xfrm>
            <a:off x="1687304" y="3951756"/>
            <a:ext cx="5321600" cy="7504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58" name="Google Shape;258;p26"/>
          <p:cNvSpPr/>
          <p:nvPr/>
        </p:nvSpPr>
        <p:spPr>
          <a:xfrm>
            <a:off x="1687304" y="2476517"/>
            <a:ext cx="5321600" cy="1475200"/>
          </a:xfrm>
          <a:prstGeom prst="roundRect">
            <a:avLst>
              <a:gd name="adj" fmla="val 371"/>
            </a:avLst>
          </a:prstGeom>
          <a:gradFill>
            <a:gsLst>
              <a:gs pos="0">
                <a:srgbClr val="1F9CF0"/>
              </a:gs>
              <a:gs pos="2000">
                <a:srgbClr val="1F9CF0"/>
              </a:gs>
              <a:gs pos="100000">
                <a:schemeClr val="accent2"/>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59" name="Google Shape;259;p26"/>
          <p:cNvPicPr preferRelativeResize="0"/>
          <p:nvPr/>
        </p:nvPicPr>
        <p:blipFill rotWithShape="1">
          <a:blip r:embed="rId3">
            <a:alphaModFix amt="30000"/>
          </a:blip>
          <a:srcRect/>
          <a:stretch/>
        </p:blipFill>
        <p:spPr>
          <a:xfrm>
            <a:off x="-4218439" y="1443511"/>
            <a:ext cx="5016492" cy="5016492"/>
          </a:xfrm>
          <a:prstGeom prst="rect">
            <a:avLst/>
          </a:prstGeom>
          <a:noFill/>
          <a:ln>
            <a:noFill/>
          </a:ln>
        </p:spPr>
      </p:pic>
      <p:pic>
        <p:nvPicPr>
          <p:cNvPr id="260" name="Google Shape;260;p26"/>
          <p:cNvPicPr preferRelativeResize="0"/>
          <p:nvPr/>
        </p:nvPicPr>
        <p:blipFill rotWithShape="1">
          <a:blip r:embed="rId4">
            <a:alphaModFix/>
          </a:blip>
          <a:srcRect/>
          <a:stretch/>
        </p:blipFill>
        <p:spPr>
          <a:xfrm>
            <a:off x="2026729" y="4199734"/>
            <a:ext cx="254409" cy="254409"/>
          </a:xfrm>
          <a:prstGeom prst="rect">
            <a:avLst/>
          </a:prstGeom>
          <a:noFill/>
          <a:ln>
            <a:noFill/>
          </a:ln>
        </p:spPr>
      </p:pic>
      <p:sp>
        <p:nvSpPr>
          <p:cNvPr id="261" name="Google Shape;261;p26"/>
          <p:cNvSpPr/>
          <p:nvPr/>
        </p:nvSpPr>
        <p:spPr>
          <a:xfrm rot="10800000">
            <a:off x="1331867" y="167"/>
            <a:ext cx="97600" cy="21448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262" name="Google Shape;262;p26"/>
          <p:cNvSpPr txBox="1">
            <a:spLocks noGrp="1"/>
          </p:cNvSpPr>
          <p:nvPr>
            <p:ph type="title"/>
          </p:nvPr>
        </p:nvSpPr>
        <p:spPr>
          <a:xfrm>
            <a:off x="1633733" y="1187133"/>
            <a:ext cx="5364400" cy="11216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 name="Google Shape;263;p26"/>
          <p:cNvSpPr txBox="1">
            <a:spLocks noGrp="1"/>
          </p:cNvSpPr>
          <p:nvPr>
            <p:ph type="body" idx="1"/>
          </p:nvPr>
        </p:nvSpPr>
        <p:spPr>
          <a:xfrm>
            <a:off x="1914144" y="2682233"/>
            <a:ext cx="4864800" cy="10972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Clr>
                <a:schemeClr val="lt1"/>
              </a:buClr>
              <a:buSzPts val="1700"/>
              <a:buNone/>
              <a:defRPr sz="2267" b="0" i="0">
                <a:solidFill>
                  <a:schemeClr val="lt1"/>
                </a:solidFill>
                <a:latin typeface="Helvetica" pitchFamily="2" charset="0"/>
              </a:defRPr>
            </a:lvl1pPr>
            <a:lvl2pPr marL="1219170" lvl="1" indent="-448722">
              <a:lnSpc>
                <a:spcPct val="100000"/>
              </a:lnSpc>
              <a:spcBef>
                <a:spcPts val="0"/>
              </a:spcBef>
              <a:spcAft>
                <a:spcPts val="0"/>
              </a:spcAft>
              <a:buClr>
                <a:schemeClr val="lt1"/>
              </a:buClr>
              <a:buSzPts val="1700"/>
              <a:buChar char="○"/>
              <a:defRPr sz="2267">
                <a:solidFill>
                  <a:schemeClr val="lt1"/>
                </a:solidFill>
              </a:defRPr>
            </a:lvl2pPr>
            <a:lvl3pPr marL="1828754" lvl="2" indent="-448722">
              <a:lnSpc>
                <a:spcPct val="100000"/>
              </a:lnSpc>
              <a:spcBef>
                <a:spcPts val="0"/>
              </a:spcBef>
              <a:spcAft>
                <a:spcPts val="0"/>
              </a:spcAft>
              <a:buClr>
                <a:schemeClr val="lt1"/>
              </a:buClr>
              <a:buSzPts val="1700"/>
              <a:buChar char="■"/>
              <a:defRPr sz="2267">
                <a:solidFill>
                  <a:schemeClr val="lt1"/>
                </a:solidFill>
              </a:defRPr>
            </a:lvl3pPr>
            <a:lvl4pPr marL="2438339" lvl="3" indent="-448722">
              <a:lnSpc>
                <a:spcPct val="100000"/>
              </a:lnSpc>
              <a:spcBef>
                <a:spcPts val="0"/>
              </a:spcBef>
              <a:spcAft>
                <a:spcPts val="0"/>
              </a:spcAft>
              <a:buClr>
                <a:schemeClr val="lt1"/>
              </a:buClr>
              <a:buSzPts val="1700"/>
              <a:buChar char="●"/>
              <a:defRPr sz="2267">
                <a:solidFill>
                  <a:schemeClr val="lt1"/>
                </a:solidFill>
              </a:defRPr>
            </a:lvl4pPr>
            <a:lvl5pPr marL="3047924" lvl="4" indent="-448722">
              <a:lnSpc>
                <a:spcPct val="100000"/>
              </a:lnSpc>
              <a:spcBef>
                <a:spcPts val="0"/>
              </a:spcBef>
              <a:spcAft>
                <a:spcPts val="0"/>
              </a:spcAft>
              <a:buClr>
                <a:schemeClr val="lt1"/>
              </a:buClr>
              <a:buSzPts val="1700"/>
              <a:buChar char="○"/>
              <a:defRPr sz="2267">
                <a:solidFill>
                  <a:schemeClr val="lt1"/>
                </a:solidFill>
              </a:defRPr>
            </a:lvl5pPr>
            <a:lvl6pPr marL="3657509" lvl="5" indent="-448722">
              <a:lnSpc>
                <a:spcPct val="100000"/>
              </a:lnSpc>
              <a:spcBef>
                <a:spcPts val="0"/>
              </a:spcBef>
              <a:spcAft>
                <a:spcPts val="0"/>
              </a:spcAft>
              <a:buClr>
                <a:schemeClr val="lt1"/>
              </a:buClr>
              <a:buSzPts val="1700"/>
              <a:buChar char="■"/>
              <a:defRPr sz="2267">
                <a:solidFill>
                  <a:schemeClr val="lt1"/>
                </a:solidFill>
              </a:defRPr>
            </a:lvl6pPr>
            <a:lvl7pPr marL="4267093" lvl="6" indent="-448722">
              <a:lnSpc>
                <a:spcPct val="100000"/>
              </a:lnSpc>
              <a:spcBef>
                <a:spcPts val="0"/>
              </a:spcBef>
              <a:spcAft>
                <a:spcPts val="0"/>
              </a:spcAft>
              <a:buClr>
                <a:schemeClr val="lt1"/>
              </a:buClr>
              <a:buSzPts val="1700"/>
              <a:buChar char="●"/>
              <a:defRPr sz="2267">
                <a:solidFill>
                  <a:schemeClr val="lt1"/>
                </a:solidFill>
              </a:defRPr>
            </a:lvl7pPr>
            <a:lvl8pPr marL="4876678" lvl="7" indent="-448722">
              <a:lnSpc>
                <a:spcPct val="100000"/>
              </a:lnSpc>
              <a:spcBef>
                <a:spcPts val="0"/>
              </a:spcBef>
              <a:spcAft>
                <a:spcPts val="0"/>
              </a:spcAft>
              <a:buClr>
                <a:schemeClr val="lt1"/>
              </a:buClr>
              <a:buSzPts val="1700"/>
              <a:buChar char="○"/>
              <a:defRPr sz="2267">
                <a:solidFill>
                  <a:schemeClr val="lt1"/>
                </a:solidFill>
              </a:defRPr>
            </a:lvl8pPr>
            <a:lvl9pPr marL="5486263" lvl="8" indent="-448722">
              <a:lnSpc>
                <a:spcPct val="100000"/>
              </a:lnSpc>
              <a:spcBef>
                <a:spcPts val="0"/>
              </a:spcBef>
              <a:spcAft>
                <a:spcPts val="0"/>
              </a:spcAft>
              <a:buClr>
                <a:schemeClr val="lt1"/>
              </a:buClr>
              <a:buSzPts val="1700"/>
              <a:buChar char="■"/>
              <a:defRPr sz="2267">
                <a:solidFill>
                  <a:schemeClr val="lt1"/>
                </a:solidFill>
              </a:defRPr>
            </a:lvl9pPr>
          </a:lstStyle>
          <a:p>
            <a:endParaRPr/>
          </a:p>
        </p:txBody>
      </p:sp>
      <p:sp>
        <p:nvSpPr>
          <p:cNvPr id="264" name="Google Shape;264;p26"/>
          <p:cNvSpPr txBox="1">
            <a:spLocks noGrp="1"/>
          </p:cNvSpPr>
          <p:nvPr>
            <p:ph type="body" idx="2"/>
          </p:nvPr>
        </p:nvSpPr>
        <p:spPr>
          <a:xfrm>
            <a:off x="2497687" y="4063513"/>
            <a:ext cx="3938000" cy="526848"/>
          </a:xfrm>
          <a:prstGeom prst="rect">
            <a:avLst/>
          </a:prstGeom>
        </p:spPr>
        <p:txBody>
          <a:bodyPr spcFirstLastPara="1" wrap="square" lIns="45700" tIns="18275" rIns="45700" bIns="18275" anchor="ctr" anchorCtr="0">
            <a:noAutofit/>
          </a:bodyPr>
          <a:lstStyle>
            <a:lvl1pPr marL="0" lvl="0" indent="0">
              <a:spcBef>
                <a:spcPts val="0"/>
              </a:spcBef>
              <a:spcAft>
                <a:spcPts val="0"/>
              </a:spcAft>
              <a:buClr>
                <a:schemeClr val="lt1"/>
              </a:buClr>
              <a:buSzPts val="1700"/>
              <a:buNone/>
              <a:defRPr sz="1867" b="0" i="0">
                <a:solidFill>
                  <a:schemeClr val="lt1"/>
                </a:solidFill>
                <a:latin typeface="Helvetica" pitchFamily="2" charset="0"/>
              </a:defRPr>
            </a:lvl1pPr>
            <a:lvl2pPr marL="1219170" lvl="1" indent="-448722">
              <a:spcBef>
                <a:spcPts val="0"/>
              </a:spcBef>
              <a:spcAft>
                <a:spcPts val="0"/>
              </a:spcAft>
              <a:buClr>
                <a:schemeClr val="lt1"/>
              </a:buClr>
              <a:buSzPts val="1700"/>
              <a:buChar char="○"/>
              <a:defRPr sz="2267">
                <a:solidFill>
                  <a:schemeClr val="lt1"/>
                </a:solidFill>
              </a:defRPr>
            </a:lvl2pPr>
            <a:lvl3pPr marL="1828754" lvl="2" indent="-448722">
              <a:spcBef>
                <a:spcPts val="0"/>
              </a:spcBef>
              <a:spcAft>
                <a:spcPts val="0"/>
              </a:spcAft>
              <a:buClr>
                <a:schemeClr val="lt1"/>
              </a:buClr>
              <a:buSzPts val="1700"/>
              <a:buChar char="■"/>
              <a:defRPr sz="2267">
                <a:solidFill>
                  <a:schemeClr val="lt1"/>
                </a:solidFill>
              </a:defRPr>
            </a:lvl3pPr>
            <a:lvl4pPr marL="2438339" lvl="3" indent="-448722">
              <a:spcBef>
                <a:spcPts val="0"/>
              </a:spcBef>
              <a:spcAft>
                <a:spcPts val="0"/>
              </a:spcAft>
              <a:buClr>
                <a:schemeClr val="lt1"/>
              </a:buClr>
              <a:buSzPts val="1700"/>
              <a:buChar char="●"/>
              <a:defRPr sz="2267">
                <a:solidFill>
                  <a:schemeClr val="lt1"/>
                </a:solidFill>
              </a:defRPr>
            </a:lvl4pPr>
            <a:lvl5pPr marL="3047924" lvl="4" indent="-448722">
              <a:spcBef>
                <a:spcPts val="0"/>
              </a:spcBef>
              <a:spcAft>
                <a:spcPts val="0"/>
              </a:spcAft>
              <a:buClr>
                <a:schemeClr val="lt1"/>
              </a:buClr>
              <a:buSzPts val="1700"/>
              <a:buChar char="○"/>
              <a:defRPr sz="2267">
                <a:solidFill>
                  <a:schemeClr val="lt1"/>
                </a:solidFill>
              </a:defRPr>
            </a:lvl5pPr>
            <a:lvl6pPr marL="3657509" lvl="5" indent="-448722">
              <a:spcBef>
                <a:spcPts val="0"/>
              </a:spcBef>
              <a:spcAft>
                <a:spcPts val="0"/>
              </a:spcAft>
              <a:buClr>
                <a:schemeClr val="lt1"/>
              </a:buClr>
              <a:buSzPts val="1700"/>
              <a:buChar char="■"/>
              <a:defRPr sz="2267">
                <a:solidFill>
                  <a:schemeClr val="lt1"/>
                </a:solidFill>
              </a:defRPr>
            </a:lvl6pPr>
            <a:lvl7pPr marL="4267093" lvl="6" indent="-448722">
              <a:spcBef>
                <a:spcPts val="0"/>
              </a:spcBef>
              <a:spcAft>
                <a:spcPts val="0"/>
              </a:spcAft>
              <a:buClr>
                <a:schemeClr val="lt1"/>
              </a:buClr>
              <a:buSzPts val="1700"/>
              <a:buChar char="●"/>
              <a:defRPr sz="2267">
                <a:solidFill>
                  <a:schemeClr val="lt1"/>
                </a:solidFill>
              </a:defRPr>
            </a:lvl7pPr>
            <a:lvl8pPr marL="4876678" lvl="7" indent="-448722">
              <a:spcBef>
                <a:spcPts val="0"/>
              </a:spcBef>
              <a:spcAft>
                <a:spcPts val="0"/>
              </a:spcAft>
              <a:buClr>
                <a:schemeClr val="lt1"/>
              </a:buClr>
              <a:buSzPts val="1700"/>
              <a:buChar char="○"/>
              <a:defRPr sz="2267">
                <a:solidFill>
                  <a:schemeClr val="lt1"/>
                </a:solidFill>
              </a:defRPr>
            </a:lvl8pPr>
            <a:lvl9pPr marL="5486263" lvl="8" indent="-448722">
              <a:spcBef>
                <a:spcPts val="0"/>
              </a:spcBef>
              <a:spcAft>
                <a:spcPts val="0"/>
              </a:spcAft>
              <a:buClr>
                <a:schemeClr val="lt1"/>
              </a:buClr>
              <a:buSzPts val="1700"/>
              <a:buChar char="■"/>
              <a:defRPr sz="2267">
                <a:solidFill>
                  <a:schemeClr val="lt1"/>
                </a:solidFill>
              </a:defRPr>
            </a:lvl9pPr>
          </a:lstStyle>
          <a:p>
            <a:endParaRPr/>
          </a:p>
        </p:txBody>
      </p:sp>
    </p:spTree>
    <p:extLst>
      <p:ext uri="{BB962C8B-B14F-4D97-AF65-F5344CB8AC3E}">
        <p14:creationId xmlns:p14="http://schemas.microsoft.com/office/powerpoint/2010/main" val="266554831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matchingName="Right Two Column" preserve="1">
  <p:cSld name="Right Two Column">
    <p:spTree>
      <p:nvGrpSpPr>
        <p:cNvPr id="1" name="Shape 265"/>
        <p:cNvGrpSpPr/>
        <p:nvPr/>
      </p:nvGrpSpPr>
      <p:grpSpPr>
        <a:xfrm>
          <a:off x="0" y="0"/>
          <a:ext cx="0" cy="0"/>
          <a:chOff x="0" y="0"/>
          <a:chExt cx="0" cy="0"/>
        </a:xfrm>
      </p:grpSpPr>
      <p:sp>
        <p:nvSpPr>
          <p:cNvPr id="268" name="Google Shape;268;p27"/>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269" name="Google Shape;269;p27"/>
          <p:cNvSpPr/>
          <p:nvPr/>
        </p:nvSpPr>
        <p:spPr>
          <a:xfrm>
            <a:off x="-3799193" y="-757667"/>
            <a:ext cx="8552400" cy="8539200"/>
          </a:xfrm>
          <a:prstGeom prst="ellipse">
            <a:avLst/>
          </a:prstGeom>
          <a:gradFill>
            <a:gsLst>
              <a:gs pos="0">
                <a:srgbClr val="007ACC"/>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70" name="Google Shape;270;p27"/>
          <p:cNvSpPr/>
          <p:nvPr/>
        </p:nvSpPr>
        <p:spPr>
          <a:xfrm>
            <a:off x="958949" y="1315256"/>
            <a:ext cx="1799600" cy="1796800"/>
          </a:xfrm>
          <a:prstGeom prst="ellipse">
            <a:avLst/>
          </a:prstGeom>
          <a:gradFill>
            <a:gsLst>
              <a:gs pos="0">
                <a:srgbClr val="8661C5"/>
              </a:gs>
              <a:gs pos="100000">
                <a:srgbClr val="161828">
                  <a:alpha val="0"/>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271" name="Google Shape;271;p27"/>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272" name="Google Shape;272;p27"/>
          <p:cNvPicPr preferRelativeResize="0"/>
          <p:nvPr/>
        </p:nvPicPr>
        <p:blipFill rotWithShape="1">
          <a:blip r:embed="rId2">
            <a:alphaModFix amt="30000"/>
          </a:blip>
          <a:srcRect/>
          <a:stretch/>
        </p:blipFill>
        <p:spPr>
          <a:xfrm>
            <a:off x="11153603" y="829071"/>
            <a:ext cx="5016492" cy="5016492"/>
          </a:xfrm>
          <a:prstGeom prst="rect">
            <a:avLst/>
          </a:prstGeom>
          <a:noFill/>
          <a:ln>
            <a:noFill/>
          </a:ln>
        </p:spPr>
      </p:pic>
      <p:sp>
        <p:nvSpPr>
          <p:cNvPr id="273" name="Google Shape;273;p2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a:lnSpc>
                <a:spcPct val="100000"/>
              </a:lnSpc>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274" name="Google Shape;274;p2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27"/>
          <p:cNvSpPr txBox="1">
            <a:spLocks noGrp="1"/>
          </p:cNvSpPr>
          <p:nvPr>
            <p:ph type="title" idx="2"/>
          </p:nvPr>
        </p:nvSpPr>
        <p:spPr>
          <a:xfrm>
            <a:off x="6705600" y="2828544"/>
            <a:ext cx="1402000" cy="536400"/>
          </a:xfrm>
          <a:prstGeom prst="rect">
            <a:avLst/>
          </a:prstGeom>
        </p:spPr>
        <p:txBody>
          <a:bodyPr spcFirstLastPara="1" wrap="square" lIns="45700" tIns="18275" rIns="45700" bIns="18275" anchor="t" anchorCtr="0">
            <a:noAutofit/>
          </a:bodyPr>
          <a:lstStyle>
            <a:lvl1pPr lvl="0" algn="ctr">
              <a:lnSpc>
                <a:spcPct val="100000"/>
              </a:lnSpc>
              <a:spcBef>
                <a:spcPts val="0"/>
              </a:spcBef>
              <a:spcAft>
                <a:spcPts val="0"/>
              </a:spcAft>
              <a:buSzPts val="2300"/>
              <a:buNone/>
              <a:defRPr sz="3067" b="1" i="0">
                <a:latin typeface="Helvetica" pitchFamily="2" charset="0"/>
              </a:defRPr>
            </a:lvl1pPr>
            <a:lvl2pPr lvl="1" algn="ctr">
              <a:spcBef>
                <a:spcPts val="0"/>
              </a:spcBef>
              <a:spcAft>
                <a:spcPts val="0"/>
              </a:spcAft>
              <a:buSzPts val="2300"/>
              <a:buNone/>
              <a:defRPr sz="3067"/>
            </a:lvl2pPr>
            <a:lvl3pPr lvl="2" algn="ctr">
              <a:spcBef>
                <a:spcPts val="0"/>
              </a:spcBef>
              <a:spcAft>
                <a:spcPts val="0"/>
              </a:spcAft>
              <a:buSzPts val="2300"/>
              <a:buNone/>
              <a:defRPr sz="3067"/>
            </a:lvl3pPr>
            <a:lvl4pPr lvl="3" algn="ctr">
              <a:spcBef>
                <a:spcPts val="0"/>
              </a:spcBef>
              <a:spcAft>
                <a:spcPts val="0"/>
              </a:spcAft>
              <a:buSzPts val="2300"/>
              <a:buNone/>
              <a:defRPr sz="3067"/>
            </a:lvl4pPr>
            <a:lvl5pPr lvl="4" algn="ctr">
              <a:spcBef>
                <a:spcPts val="0"/>
              </a:spcBef>
              <a:spcAft>
                <a:spcPts val="0"/>
              </a:spcAft>
              <a:buSzPts val="2300"/>
              <a:buNone/>
              <a:defRPr sz="3067"/>
            </a:lvl5pPr>
            <a:lvl6pPr lvl="5" algn="ctr">
              <a:spcBef>
                <a:spcPts val="0"/>
              </a:spcBef>
              <a:spcAft>
                <a:spcPts val="0"/>
              </a:spcAft>
              <a:buSzPts val="2300"/>
              <a:buNone/>
              <a:defRPr sz="3067"/>
            </a:lvl6pPr>
            <a:lvl7pPr lvl="6" algn="ctr">
              <a:spcBef>
                <a:spcPts val="0"/>
              </a:spcBef>
              <a:spcAft>
                <a:spcPts val="0"/>
              </a:spcAft>
              <a:buSzPts val="2300"/>
              <a:buNone/>
              <a:defRPr sz="3067"/>
            </a:lvl7pPr>
            <a:lvl8pPr lvl="7" algn="ctr">
              <a:spcBef>
                <a:spcPts val="0"/>
              </a:spcBef>
              <a:spcAft>
                <a:spcPts val="0"/>
              </a:spcAft>
              <a:buSzPts val="2300"/>
              <a:buNone/>
              <a:defRPr sz="3067"/>
            </a:lvl8pPr>
            <a:lvl9pPr lvl="8" algn="ctr">
              <a:spcBef>
                <a:spcPts val="0"/>
              </a:spcBef>
              <a:spcAft>
                <a:spcPts val="0"/>
              </a:spcAft>
              <a:buSzPts val="2300"/>
              <a:buNone/>
              <a:defRPr sz="3067"/>
            </a:lvl9pPr>
          </a:lstStyle>
          <a:p>
            <a:endParaRPr/>
          </a:p>
        </p:txBody>
      </p:sp>
      <p:sp>
        <p:nvSpPr>
          <p:cNvPr id="276" name="Google Shape;276;p27"/>
          <p:cNvSpPr txBox="1">
            <a:spLocks noGrp="1"/>
          </p:cNvSpPr>
          <p:nvPr>
            <p:ph type="title" idx="3"/>
          </p:nvPr>
        </p:nvSpPr>
        <p:spPr>
          <a:xfrm>
            <a:off x="9131808" y="2828544"/>
            <a:ext cx="1402000" cy="536400"/>
          </a:xfrm>
          <a:prstGeom prst="rect">
            <a:avLst/>
          </a:prstGeom>
        </p:spPr>
        <p:txBody>
          <a:bodyPr spcFirstLastPara="1" wrap="square" lIns="45700" tIns="18275" rIns="45700" bIns="18275" anchor="t" anchorCtr="0">
            <a:noAutofit/>
          </a:bodyPr>
          <a:lstStyle>
            <a:lvl1pPr lvl="0" algn="ctr" rtl="0">
              <a:lnSpc>
                <a:spcPct val="100000"/>
              </a:lnSpc>
              <a:spcBef>
                <a:spcPts val="0"/>
              </a:spcBef>
              <a:spcAft>
                <a:spcPts val="0"/>
              </a:spcAft>
              <a:buSzPts val="2300"/>
              <a:buNone/>
              <a:defRPr sz="3067" b="1" i="0">
                <a:latin typeface="Helvetica" pitchFamily="2" charset="0"/>
              </a:defRPr>
            </a:lvl1pPr>
            <a:lvl2pPr lvl="1" algn="ctr" rtl="0">
              <a:spcBef>
                <a:spcPts val="0"/>
              </a:spcBef>
              <a:spcAft>
                <a:spcPts val="0"/>
              </a:spcAft>
              <a:buSzPts val="2300"/>
              <a:buNone/>
              <a:defRPr sz="3067"/>
            </a:lvl2pPr>
            <a:lvl3pPr lvl="2" algn="ctr" rtl="0">
              <a:spcBef>
                <a:spcPts val="0"/>
              </a:spcBef>
              <a:spcAft>
                <a:spcPts val="0"/>
              </a:spcAft>
              <a:buSzPts val="2300"/>
              <a:buNone/>
              <a:defRPr sz="3067"/>
            </a:lvl3pPr>
            <a:lvl4pPr lvl="3" algn="ctr" rtl="0">
              <a:spcBef>
                <a:spcPts val="0"/>
              </a:spcBef>
              <a:spcAft>
                <a:spcPts val="0"/>
              </a:spcAft>
              <a:buSzPts val="2300"/>
              <a:buNone/>
              <a:defRPr sz="3067"/>
            </a:lvl4pPr>
            <a:lvl5pPr lvl="4" algn="ctr" rtl="0">
              <a:spcBef>
                <a:spcPts val="0"/>
              </a:spcBef>
              <a:spcAft>
                <a:spcPts val="0"/>
              </a:spcAft>
              <a:buSzPts val="2300"/>
              <a:buNone/>
              <a:defRPr sz="3067"/>
            </a:lvl5pPr>
            <a:lvl6pPr lvl="5" algn="ctr" rtl="0">
              <a:spcBef>
                <a:spcPts val="0"/>
              </a:spcBef>
              <a:spcAft>
                <a:spcPts val="0"/>
              </a:spcAft>
              <a:buSzPts val="2300"/>
              <a:buNone/>
              <a:defRPr sz="3067"/>
            </a:lvl6pPr>
            <a:lvl7pPr lvl="6" algn="ctr" rtl="0">
              <a:spcBef>
                <a:spcPts val="0"/>
              </a:spcBef>
              <a:spcAft>
                <a:spcPts val="0"/>
              </a:spcAft>
              <a:buSzPts val="2300"/>
              <a:buNone/>
              <a:defRPr sz="3067"/>
            </a:lvl7pPr>
            <a:lvl8pPr lvl="7" algn="ctr" rtl="0">
              <a:spcBef>
                <a:spcPts val="0"/>
              </a:spcBef>
              <a:spcAft>
                <a:spcPts val="0"/>
              </a:spcAft>
              <a:buSzPts val="2300"/>
              <a:buNone/>
              <a:defRPr sz="3067"/>
            </a:lvl8pPr>
            <a:lvl9pPr lvl="8" algn="ctr" rtl="0">
              <a:spcBef>
                <a:spcPts val="0"/>
              </a:spcBef>
              <a:spcAft>
                <a:spcPts val="0"/>
              </a:spcAft>
              <a:buSzPts val="2300"/>
              <a:buNone/>
              <a:defRPr sz="3067"/>
            </a:lvl9pPr>
          </a:lstStyle>
          <a:p>
            <a:endParaRPr/>
          </a:p>
        </p:txBody>
      </p:sp>
      <p:sp>
        <p:nvSpPr>
          <p:cNvPr id="277" name="Google Shape;277;p27"/>
          <p:cNvSpPr txBox="1">
            <a:spLocks noGrp="1"/>
          </p:cNvSpPr>
          <p:nvPr>
            <p:ph type="body" idx="4"/>
          </p:nvPr>
        </p:nvSpPr>
        <p:spPr>
          <a:xfrm>
            <a:off x="6559296" y="4230624"/>
            <a:ext cx="1924000" cy="463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900"/>
              <a:buNone/>
              <a:defRPr sz="1467" b="0" i="0">
                <a:solidFill>
                  <a:schemeClr val="bg1"/>
                </a:solidFill>
                <a:latin typeface="Helvetica" pitchFamily="2" charset="0"/>
              </a:defRPr>
            </a:lvl1pPr>
            <a:lvl2pPr marL="1219170" lvl="1" indent="-380990">
              <a:spcBef>
                <a:spcPts val="0"/>
              </a:spcBef>
              <a:spcAft>
                <a:spcPts val="0"/>
              </a:spcAft>
              <a:buSzPts val="900"/>
              <a:buChar char="○"/>
              <a:defRPr sz="1200"/>
            </a:lvl2pPr>
            <a:lvl3pPr marL="1828754" lvl="2" indent="-380990">
              <a:spcBef>
                <a:spcPts val="0"/>
              </a:spcBef>
              <a:spcAft>
                <a:spcPts val="0"/>
              </a:spcAft>
              <a:buSzPts val="900"/>
              <a:buChar char="■"/>
              <a:defRPr sz="1200"/>
            </a:lvl3pPr>
            <a:lvl4pPr marL="2438339" lvl="3" indent="-380990">
              <a:spcBef>
                <a:spcPts val="0"/>
              </a:spcBef>
              <a:spcAft>
                <a:spcPts val="0"/>
              </a:spcAft>
              <a:buSzPts val="900"/>
              <a:buChar char="●"/>
              <a:defRPr sz="1200"/>
            </a:lvl4pPr>
            <a:lvl5pPr marL="3047924" lvl="4" indent="-380990">
              <a:spcBef>
                <a:spcPts val="0"/>
              </a:spcBef>
              <a:spcAft>
                <a:spcPts val="0"/>
              </a:spcAft>
              <a:buSzPts val="900"/>
              <a:buChar char="○"/>
              <a:defRPr sz="1200"/>
            </a:lvl5pPr>
            <a:lvl6pPr marL="3657509" lvl="5" indent="-380990">
              <a:spcBef>
                <a:spcPts val="0"/>
              </a:spcBef>
              <a:spcAft>
                <a:spcPts val="0"/>
              </a:spcAft>
              <a:buSzPts val="900"/>
              <a:buChar char="■"/>
              <a:defRPr sz="1200"/>
            </a:lvl6pPr>
            <a:lvl7pPr marL="4267093" lvl="6" indent="-380990">
              <a:spcBef>
                <a:spcPts val="0"/>
              </a:spcBef>
              <a:spcAft>
                <a:spcPts val="0"/>
              </a:spcAft>
              <a:buSzPts val="900"/>
              <a:buChar char="●"/>
              <a:defRPr sz="1200"/>
            </a:lvl7pPr>
            <a:lvl8pPr marL="4876678" lvl="7" indent="-380990">
              <a:spcBef>
                <a:spcPts val="0"/>
              </a:spcBef>
              <a:spcAft>
                <a:spcPts val="0"/>
              </a:spcAft>
              <a:buSzPts val="900"/>
              <a:buChar char="○"/>
              <a:defRPr sz="1200"/>
            </a:lvl8pPr>
            <a:lvl9pPr marL="5486263" lvl="8" indent="-380990">
              <a:spcBef>
                <a:spcPts val="0"/>
              </a:spcBef>
              <a:spcAft>
                <a:spcPts val="0"/>
              </a:spcAft>
              <a:buSzPts val="900"/>
              <a:buChar char="■"/>
              <a:defRPr sz="1200"/>
            </a:lvl9pPr>
          </a:lstStyle>
          <a:p>
            <a:endParaRPr/>
          </a:p>
        </p:txBody>
      </p:sp>
      <p:sp>
        <p:nvSpPr>
          <p:cNvPr id="278" name="Google Shape;278;p27"/>
          <p:cNvSpPr txBox="1">
            <a:spLocks noGrp="1"/>
          </p:cNvSpPr>
          <p:nvPr>
            <p:ph type="body" idx="5"/>
          </p:nvPr>
        </p:nvSpPr>
        <p:spPr>
          <a:xfrm>
            <a:off x="6559296" y="4767072"/>
            <a:ext cx="1731200" cy="9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279" name="Google Shape;279;p27"/>
          <p:cNvSpPr txBox="1">
            <a:spLocks noGrp="1"/>
          </p:cNvSpPr>
          <p:nvPr>
            <p:ph type="body" idx="6"/>
          </p:nvPr>
        </p:nvSpPr>
        <p:spPr>
          <a:xfrm>
            <a:off x="8924544" y="4230624"/>
            <a:ext cx="1924000" cy="463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900"/>
              <a:buNone/>
              <a:defRPr sz="1467" b="0" i="0">
                <a:solidFill>
                  <a:schemeClr val="bg1"/>
                </a:solidFill>
                <a:latin typeface="Helvetica" pitchFamily="2" charset="0"/>
              </a:defRPr>
            </a:lvl1pPr>
            <a:lvl2pPr marL="1219170" lvl="1" indent="-380990" rtl="0">
              <a:spcBef>
                <a:spcPts val="0"/>
              </a:spcBef>
              <a:spcAft>
                <a:spcPts val="0"/>
              </a:spcAft>
              <a:buSzPts val="900"/>
              <a:buChar char="○"/>
              <a:defRPr sz="1200"/>
            </a:lvl2pPr>
            <a:lvl3pPr marL="1828754" lvl="2" indent="-380990" rtl="0">
              <a:spcBef>
                <a:spcPts val="0"/>
              </a:spcBef>
              <a:spcAft>
                <a:spcPts val="0"/>
              </a:spcAft>
              <a:buSzPts val="900"/>
              <a:buChar char="■"/>
              <a:defRPr sz="1200"/>
            </a:lvl3pPr>
            <a:lvl4pPr marL="2438339" lvl="3" indent="-380990" rtl="0">
              <a:spcBef>
                <a:spcPts val="0"/>
              </a:spcBef>
              <a:spcAft>
                <a:spcPts val="0"/>
              </a:spcAft>
              <a:buSzPts val="900"/>
              <a:buChar char="●"/>
              <a:defRPr sz="1200"/>
            </a:lvl4pPr>
            <a:lvl5pPr marL="3047924" lvl="4" indent="-380990" rtl="0">
              <a:spcBef>
                <a:spcPts val="0"/>
              </a:spcBef>
              <a:spcAft>
                <a:spcPts val="0"/>
              </a:spcAft>
              <a:buSzPts val="900"/>
              <a:buChar char="○"/>
              <a:defRPr sz="1200"/>
            </a:lvl5pPr>
            <a:lvl6pPr marL="3657509" lvl="5" indent="-380990" rtl="0">
              <a:spcBef>
                <a:spcPts val="0"/>
              </a:spcBef>
              <a:spcAft>
                <a:spcPts val="0"/>
              </a:spcAft>
              <a:buSzPts val="900"/>
              <a:buChar char="■"/>
              <a:defRPr sz="1200"/>
            </a:lvl6pPr>
            <a:lvl7pPr marL="4267093" lvl="6" indent="-380990" rtl="0">
              <a:spcBef>
                <a:spcPts val="0"/>
              </a:spcBef>
              <a:spcAft>
                <a:spcPts val="0"/>
              </a:spcAft>
              <a:buSzPts val="900"/>
              <a:buChar char="●"/>
              <a:defRPr sz="1200"/>
            </a:lvl7pPr>
            <a:lvl8pPr marL="4876678" lvl="7" indent="-380990" rtl="0">
              <a:spcBef>
                <a:spcPts val="0"/>
              </a:spcBef>
              <a:spcAft>
                <a:spcPts val="0"/>
              </a:spcAft>
              <a:buSzPts val="900"/>
              <a:buChar char="○"/>
              <a:defRPr sz="1200"/>
            </a:lvl8pPr>
            <a:lvl9pPr marL="5486263" lvl="8" indent="-380990" rtl="0">
              <a:spcBef>
                <a:spcPts val="0"/>
              </a:spcBef>
              <a:spcAft>
                <a:spcPts val="0"/>
              </a:spcAft>
              <a:buSzPts val="900"/>
              <a:buChar char="■"/>
              <a:defRPr sz="1200"/>
            </a:lvl9pPr>
          </a:lstStyle>
          <a:p>
            <a:endParaRPr/>
          </a:p>
        </p:txBody>
      </p:sp>
      <p:sp>
        <p:nvSpPr>
          <p:cNvPr id="280" name="Google Shape;280;p27"/>
          <p:cNvSpPr txBox="1">
            <a:spLocks noGrp="1"/>
          </p:cNvSpPr>
          <p:nvPr>
            <p:ph type="body" idx="7"/>
          </p:nvPr>
        </p:nvSpPr>
        <p:spPr>
          <a:xfrm>
            <a:off x="8924544" y="4767072"/>
            <a:ext cx="1731200" cy="9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cxnSp>
        <p:nvCxnSpPr>
          <p:cNvPr id="17" name="Google Shape;67;p15">
            <a:extLst>
              <a:ext uri="{FF2B5EF4-FFF2-40B4-BE49-F238E27FC236}">
                <a16:creationId xmlns:a16="http://schemas.microsoft.com/office/drawing/2014/main" id="{77D23077-C636-7041-8945-BC542592AEE5}"/>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8" name="Google Shape;56;p14">
            <a:extLst>
              <a:ext uri="{FF2B5EF4-FFF2-40B4-BE49-F238E27FC236}">
                <a16:creationId xmlns:a16="http://schemas.microsoft.com/office/drawing/2014/main" id="{743F17DF-7406-FB45-87F9-51AE8826C18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6540855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matchingName="Quote" preserve="1">
  <p:cSld name="Quote">
    <p:spTree>
      <p:nvGrpSpPr>
        <p:cNvPr id="1" name="Shape 281"/>
        <p:cNvGrpSpPr/>
        <p:nvPr/>
      </p:nvGrpSpPr>
      <p:grpSpPr>
        <a:xfrm>
          <a:off x="0" y="0"/>
          <a:ext cx="0" cy="0"/>
          <a:chOff x="0" y="0"/>
          <a:chExt cx="0" cy="0"/>
        </a:xfrm>
      </p:grpSpPr>
      <p:pic>
        <p:nvPicPr>
          <p:cNvPr id="285" name="Google Shape;285;p28" descr="Diagram&#10;&#10;Description automatically generated with medium confidence"/>
          <p:cNvPicPr preferRelativeResize="0"/>
          <p:nvPr/>
        </p:nvPicPr>
        <p:blipFill rotWithShape="1">
          <a:blip r:embed="rId2">
            <a:alphaModFix amt="50000"/>
          </a:blip>
          <a:srcRect/>
          <a:stretch/>
        </p:blipFill>
        <p:spPr>
          <a:xfrm>
            <a:off x="1" y="1"/>
            <a:ext cx="7846684" cy="6858001"/>
          </a:xfrm>
          <a:prstGeom prst="rect">
            <a:avLst/>
          </a:prstGeom>
          <a:noFill/>
          <a:ln>
            <a:noFill/>
          </a:ln>
        </p:spPr>
      </p:pic>
      <p:cxnSp>
        <p:nvCxnSpPr>
          <p:cNvPr id="282" name="Google Shape;282;p28"/>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283" name="Google Shape;283;p28"/>
          <p:cNvSpPr/>
          <p:nvPr/>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284" name="Google Shape;284;p28"/>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grpSp>
        <p:nvGrpSpPr>
          <p:cNvPr id="3" name="Group 2">
            <a:extLst>
              <a:ext uri="{FF2B5EF4-FFF2-40B4-BE49-F238E27FC236}">
                <a16:creationId xmlns:a16="http://schemas.microsoft.com/office/drawing/2014/main" id="{6E286D62-03BB-174A-B73A-AEAD28239285}"/>
              </a:ext>
            </a:extLst>
          </p:cNvPr>
          <p:cNvGrpSpPr/>
          <p:nvPr userDrawn="1"/>
        </p:nvGrpSpPr>
        <p:grpSpPr>
          <a:xfrm>
            <a:off x="1667521" y="863019"/>
            <a:ext cx="4467835" cy="5195392"/>
            <a:chOff x="1250641" y="647264"/>
            <a:chExt cx="3350876" cy="3896544"/>
          </a:xfrm>
          <a:gradFill>
            <a:gsLst>
              <a:gs pos="0">
                <a:srgbClr val="1F9CF0"/>
              </a:gs>
              <a:gs pos="100000">
                <a:schemeClr val="accent2"/>
              </a:gs>
            </a:gsLst>
            <a:lin ang="2700006" scaled="0"/>
          </a:gradFill>
        </p:grpSpPr>
        <p:sp>
          <p:nvSpPr>
            <p:cNvPr id="287" name="Google Shape;287;p28"/>
            <p:cNvSpPr/>
            <p:nvPr/>
          </p:nvSpPr>
          <p:spPr>
            <a:xfrm>
              <a:off x="1250641" y="1140105"/>
              <a:ext cx="3350876" cy="2910862"/>
            </a:xfrm>
            <a:prstGeom prst="roundRect">
              <a:avLst>
                <a:gd name="adj" fmla="val 0"/>
              </a:avLst>
            </a:pr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88" name="Google Shape;288;p28"/>
            <p:cNvSpPr/>
            <p:nvPr/>
          </p:nvSpPr>
          <p:spPr>
            <a:xfrm rot="10800000" flipH="1">
              <a:off x="1250641" y="647264"/>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89" name="Google Shape;289;p28"/>
            <p:cNvSpPr/>
            <p:nvPr/>
          </p:nvSpPr>
          <p:spPr>
            <a:xfrm>
              <a:off x="3611024" y="4050967"/>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290" name="Google Shape;290;p28"/>
          <p:cNvSpPr/>
          <p:nvPr/>
        </p:nvSpPr>
        <p:spPr>
          <a:xfrm>
            <a:off x="2087125" y="1125200"/>
            <a:ext cx="405180" cy="265265"/>
          </a:xfrm>
          <a:custGeom>
            <a:avLst/>
            <a:gdLst/>
            <a:ahLst/>
            <a:cxnLst/>
            <a:rect l="l" t="t" r="r" b="b"/>
            <a:pathLst>
              <a:path w="173154" h="113523" extrusionOk="0">
                <a:moveTo>
                  <a:pt x="124690" y="0"/>
                </a:moveTo>
                <a:lnTo>
                  <a:pt x="173154" y="0"/>
                </a:lnTo>
                <a:lnTo>
                  <a:pt x="148922" y="113523"/>
                </a:lnTo>
                <a:lnTo>
                  <a:pt x="85314" y="113523"/>
                </a:lnTo>
                <a:close/>
                <a:moveTo>
                  <a:pt x="39376" y="0"/>
                </a:moveTo>
                <a:lnTo>
                  <a:pt x="87839" y="0"/>
                </a:lnTo>
                <a:lnTo>
                  <a:pt x="63607" y="113523"/>
                </a:lnTo>
                <a:lnTo>
                  <a:pt x="0" y="113523"/>
                </a:lnTo>
                <a:close/>
              </a:path>
            </a:pathLst>
          </a:custGeom>
          <a:solidFill>
            <a:schemeClr val="lt1"/>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291" name="Google Shape;291;p28"/>
          <p:cNvCxnSpPr/>
          <p:nvPr/>
        </p:nvCxnSpPr>
        <p:spPr>
          <a:xfrm>
            <a:off x="7044475" y="1438777"/>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292" name="Google Shape;292;p28"/>
          <p:cNvPicPr preferRelativeResize="0"/>
          <p:nvPr/>
        </p:nvPicPr>
        <p:blipFill rotWithShape="1">
          <a:blip r:embed="rId3">
            <a:alphaModFix amt="30000"/>
          </a:blip>
          <a:srcRect/>
          <a:stretch/>
        </p:blipFill>
        <p:spPr>
          <a:xfrm>
            <a:off x="11356713" y="952506"/>
            <a:ext cx="5016492" cy="5016492"/>
          </a:xfrm>
          <a:prstGeom prst="rect">
            <a:avLst/>
          </a:prstGeom>
          <a:noFill/>
          <a:ln>
            <a:noFill/>
          </a:ln>
        </p:spPr>
      </p:pic>
      <p:sp>
        <p:nvSpPr>
          <p:cNvPr id="293" name="Google Shape;293;p28"/>
          <p:cNvSpPr txBox="1">
            <a:spLocks noGrp="1"/>
          </p:cNvSpPr>
          <p:nvPr>
            <p:ph type="body" idx="1"/>
          </p:nvPr>
        </p:nvSpPr>
        <p:spPr>
          <a:xfrm>
            <a:off x="2036064" y="2243328"/>
            <a:ext cx="3718400" cy="17068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1100"/>
              <a:buNone/>
              <a:defRPr sz="1467" b="0" i="0">
                <a:latin typeface="Helvetica" pitchFamily="2" charset="0"/>
              </a:defRPr>
            </a:lvl1pPr>
            <a:lvl2pPr marL="1219170" lvl="1" indent="-397923" algn="ctr">
              <a:spcBef>
                <a:spcPts val="0"/>
              </a:spcBef>
              <a:spcAft>
                <a:spcPts val="0"/>
              </a:spcAft>
              <a:buSzPts val="1100"/>
              <a:buChar char="○"/>
              <a:defRPr sz="1467" i="1"/>
            </a:lvl2pPr>
            <a:lvl3pPr marL="1828754" lvl="2" indent="-397923" algn="ctr">
              <a:spcBef>
                <a:spcPts val="0"/>
              </a:spcBef>
              <a:spcAft>
                <a:spcPts val="0"/>
              </a:spcAft>
              <a:buSzPts val="1100"/>
              <a:buChar char="■"/>
              <a:defRPr sz="1467" i="1"/>
            </a:lvl3pPr>
            <a:lvl4pPr marL="2438339" lvl="3" indent="-397923" algn="ctr">
              <a:spcBef>
                <a:spcPts val="0"/>
              </a:spcBef>
              <a:spcAft>
                <a:spcPts val="0"/>
              </a:spcAft>
              <a:buSzPts val="1100"/>
              <a:buChar char="●"/>
              <a:defRPr sz="1467" i="1"/>
            </a:lvl4pPr>
            <a:lvl5pPr marL="3047924" lvl="4" indent="-397923" algn="ctr">
              <a:spcBef>
                <a:spcPts val="0"/>
              </a:spcBef>
              <a:spcAft>
                <a:spcPts val="0"/>
              </a:spcAft>
              <a:buSzPts val="1100"/>
              <a:buChar char="○"/>
              <a:defRPr sz="1467" i="1"/>
            </a:lvl5pPr>
            <a:lvl6pPr marL="3657509" lvl="5" indent="-397923" algn="ctr">
              <a:spcBef>
                <a:spcPts val="0"/>
              </a:spcBef>
              <a:spcAft>
                <a:spcPts val="0"/>
              </a:spcAft>
              <a:buSzPts val="1100"/>
              <a:buChar char="■"/>
              <a:defRPr sz="1467" i="1"/>
            </a:lvl6pPr>
            <a:lvl7pPr marL="4267093" lvl="6" indent="-397923" algn="ctr">
              <a:spcBef>
                <a:spcPts val="0"/>
              </a:spcBef>
              <a:spcAft>
                <a:spcPts val="0"/>
              </a:spcAft>
              <a:buSzPts val="1100"/>
              <a:buChar char="●"/>
              <a:defRPr sz="1467" i="1"/>
            </a:lvl7pPr>
            <a:lvl8pPr marL="4876678" lvl="7" indent="-397923" algn="ctr">
              <a:spcBef>
                <a:spcPts val="0"/>
              </a:spcBef>
              <a:spcAft>
                <a:spcPts val="0"/>
              </a:spcAft>
              <a:buSzPts val="1100"/>
              <a:buChar char="○"/>
              <a:defRPr sz="1467" i="1"/>
            </a:lvl8pPr>
            <a:lvl9pPr marL="5486263" lvl="8" indent="-397923" algn="ctr">
              <a:spcBef>
                <a:spcPts val="0"/>
              </a:spcBef>
              <a:spcAft>
                <a:spcPts val="0"/>
              </a:spcAft>
              <a:buSzPts val="1100"/>
              <a:buChar char="■"/>
              <a:defRPr sz="1467" i="1"/>
            </a:lvl9pPr>
          </a:lstStyle>
          <a:p>
            <a:endParaRPr/>
          </a:p>
        </p:txBody>
      </p:sp>
      <p:sp>
        <p:nvSpPr>
          <p:cNvPr id="294" name="Google Shape;294;p28"/>
          <p:cNvSpPr txBox="1">
            <a:spLocks noGrp="1"/>
          </p:cNvSpPr>
          <p:nvPr>
            <p:ph type="body" idx="2"/>
          </p:nvPr>
        </p:nvSpPr>
        <p:spPr>
          <a:xfrm>
            <a:off x="2535936" y="4255008"/>
            <a:ext cx="2760400" cy="8940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500"/>
              <a:buNone/>
              <a:defRPr sz="2000" b="0" i="0">
                <a:latin typeface="Helvetica" pitchFamily="2" charset="0"/>
              </a:defRPr>
            </a:lvl1pPr>
            <a:lvl2pPr marL="1219170" lvl="1" indent="-397923" algn="ctr">
              <a:lnSpc>
                <a:spcPct val="100000"/>
              </a:lnSpc>
              <a:spcBef>
                <a:spcPts val="0"/>
              </a:spcBef>
              <a:spcAft>
                <a:spcPts val="0"/>
              </a:spcAft>
              <a:buSzPts val="1100"/>
              <a:buChar char="○"/>
              <a:defRPr sz="1467" i="1"/>
            </a:lvl2pPr>
            <a:lvl3pPr marL="1828754" lvl="2" indent="-397923" algn="ctr">
              <a:lnSpc>
                <a:spcPct val="100000"/>
              </a:lnSpc>
              <a:spcBef>
                <a:spcPts val="0"/>
              </a:spcBef>
              <a:spcAft>
                <a:spcPts val="0"/>
              </a:spcAft>
              <a:buSzPts val="1100"/>
              <a:buChar char="■"/>
              <a:defRPr sz="1467" i="1"/>
            </a:lvl3pPr>
            <a:lvl4pPr marL="2438339" lvl="3" indent="-389457" algn="ctr">
              <a:lnSpc>
                <a:spcPct val="100000"/>
              </a:lnSpc>
              <a:spcBef>
                <a:spcPts val="0"/>
              </a:spcBef>
              <a:spcAft>
                <a:spcPts val="0"/>
              </a:spcAft>
              <a:buSzPts val="1000"/>
              <a:buChar char="●"/>
              <a:defRPr/>
            </a:lvl4pPr>
            <a:lvl5pPr marL="3047924" lvl="4" indent="-389457" algn="ctr">
              <a:lnSpc>
                <a:spcPct val="100000"/>
              </a:lnSpc>
              <a:spcBef>
                <a:spcPts val="0"/>
              </a:spcBef>
              <a:spcAft>
                <a:spcPts val="0"/>
              </a:spcAft>
              <a:buSzPts val="1000"/>
              <a:buChar char="○"/>
              <a:defRPr/>
            </a:lvl5pPr>
            <a:lvl6pPr marL="3657509" lvl="5" indent="-389457" algn="ctr">
              <a:lnSpc>
                <a:spcPct val="100000"/>
              </a:lnSpc>
              <a:spcBef>
                <a:spcPts val="0"/>
              </a:spcBef>
              <a:spcAft>
                <a:spcPts val="0"/>
              </a:spcAft>
              <a:buSzPts val="1000"/>
              <a:buChar char="■"/>
              <a:defRPr/>
            </a:lvl6pPr>
            <a:lvl7pPr marL="4267093" lvl="6" indent="-389457" algn="ctr">
              <a:lnSpc>
                <a:spcPct val="100000"/>
              </a:lnSpc>
              <a:spcBef>
                <a:spcPts val="0"/>
              </a:spcBef>
              <a:spcAft>
                <a:spcPts val="0"/>
              </a:spcAft>
              <a:buSzPts val="1000"/>
              <a:buChar char="●"/>
              <a:defRPr/>
            </a:lvl7pPr>
            <a:lvl8pPr marL="4876678" lvl="7" indent="-389457" algn="ctr">
              <a:lnSpc>
                <a:spcPct val="100000"/>
              </a:lnSpc>
              <a:spcBef>
                <a:spcPts val="0"/>
              </a:spcBef>
              <a:spcAft>
                <a:spcPts val="0"/>
              </a:spcAft>
              <a:buSzPts val="1000"/>
              <a:buChar char="○"/>
              <a:defRPr/>
            </a:lvl8pPr>
            <a:lvl9pPr marL="5486263" lvl="8" indent="-389457" algn="ctr">
              <a:lnSpc>
                <a:spcPct val="100000"/>
              </a:lnSpc>
              <a:spcBef>
                <a:spcPts val="0"/>
              </a:spcBef>
              <a:spcAft>
                <a:spcPts val="0"/>
              </a:spcAft>
              <a:buSzPts val="1000"/>
              <a:buChar char="■"/>
              <a:defRPr/>
            </a:lvl9pPr>
          </a:lstStyle>
          <a:p>
            <a:endParaRPr/>
          </a:p>
        </p:txBody>
      </p:sp>
      <p:sp>
        <p:nvSpPr>
          <p:cNvPr id="295" name="Google Shape;295;p28"/>
          <p:cNvSpPr txBox="1">
            <a:spLocks noGrp="1"/>
          </p:cNvSpPr>
          <p:nvPr>
            <p:ph type="subTitle" idx="3"/>
          </p:nvPr>
        </p:nvSpPr>
        <p:spPr>
          <a:xfrm>
            <a:off x="6998208" y="1182624"/>
            <a:ext cx="4035600" cy="233949"/>
          </a:xfrm>
          <a:prstGeom prst="rect">
            <a:avLst/>
          </a:prstGeom>
        </p:spPr>
        <p:txBody>
          <a:bodyPr spcFirstLastPara="1" wrap="square" lIns="45700" tIns="18275" rIns="45700" bIns="18275" anchor="t" anchorCtr="0">
            <a:spAutoFit/>
          </a:bodyPr>
          <a:lstStyle>
            <a:lvl1pPr marL="0" lvl="0">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296" name="Google Shape;296;p28"/>
          <p:cNvSpPr txBox="1">
            <a:spLocks noGrp="1"/>
          </p:cNvSpPr>
          <p:nvPr>
            <p:ph type="title"/>
          </p:nvPr>
        </p:nvSpPr>
        <p:spPr>
          <a:xfrm>
            <a:off x="6998208" y="1828800"/>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7" name="Google Shape;297;p28"/>
          <p:cNvSpPr txBox="1">
            <a:spLocks noGrp="1"/>
          </p:cNvSpPr>
          <p:nvPr>
            <p:ph type="body" idx="4"/>
          </p:nvPr>
        </p:nvSpPr>
        <p:spPr>
          <a:xfrm>
            <a:off x="6998208" y="3413760"/>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298" name="Google Shape;298;p28"/>
          <p:cNvSpPr>
            <a:spLocks noGrp="1"/>
          </p:cNvSpPr>
          <p:nvPr>
            <p:ph type="pic" idx="5"/>
          </p:nvPr>
        </p:nvSpPr>
        <p:spPr>
          <a:xfrm>
            <a:off x="4959867" y="4852852"/>
            <a:ext cx="1036400" cy="1036400"/>
          </a:xfrm>
          <a:prstGeom prst="ellipse">
            <a:avLst/>
          </a:prstGeom>
          <a:noFill/>
          <a:ln>
            <a:noFill/>
          </a:ln>
        </p:spPr>
        <p:txBody>
          <a:bodyPr anchor="ctr"/>
          <a:lstStyle>
            <a:lvl1pPr marL="0" indent="0" algn="ctr">
              <a:buNone/>
              <a:defRPr sz="1067" b="0" i="0">
                <a:latin typeface="Helvetica" pitchFamily="2" charset="0"/>
              </a:defRPr>
            </a:lvl1pPr>
          </a:lstStyle>
          <a:p>
            <a:endParaRPr lang="en-US"/>
          </a:p>
        </p:txBody>
      </p:sp>
    </p:spTree>
    <p:extLst>
      <p:ext uri="{BB962C8B-B14F-4D97-AF65-F5344CB8AC3E}">
        <p14:creationId xmlns:p14="http://schemas.microsoft.com/office/powerpoint/2010/main" val="186700688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matchingName="Four Feature Percent" preserve="1" userDrawn="1">
  <p:cSld name="Four Feature Percent">
    <p:spTree>
      <p:nvGrpSpPr>
        <p:cNvPr id="1" name="Shape 319"/>
        <p:cNvGrpSpPr/>
        <p:nvPr/>
      </p:nvGrpSpPr>
      <p:grpSpPr>
        <a:xfrm>
          <a:off x="0" y="0"/>
          <a:ext cx="0" cy="0"/>
          <a:chOff x="0" y="0"/>
          <a:chExt cx="0" cy="0"/>
        </a:xfrm>
      </p:grpSpPr>
      <p:cxnSp>
        <p:nvCxnSpPr>
          <p:cNvPr id="320" name="Google Shape;320;p30"/>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21" name="Google Shape;321;p30"/>
          <p:cNvSpPr/>
          <p:nvPr/>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322" name="Google Shape;322;p30"/>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323" name="Google Shape;323;p30"/>
          <p:cNvSpPr/>
          <p:nvPr/>
        </p:nvSpPr>
        <p:spPr>
          <a:xfrm>
            <a:off x="9106244" y="2095740"/>
            <a:ext cx="1447600" cy="1445600"/>
          </a:xfrm>
          <a:prstGeom prst="roundRect">
            <a:avLst>
              <a:gd name="adj" fmla="val 16667"/>
            </a:avLst>
          </a:prstGeom>
          <a:gradFill>
            <a:gsLst>
              <a:gs pos="0">
                <a:srgbClr val="9477E2">
                  <a:alpha val="20000"/>
                </a:srgbClr>
              </a:gs>
              <a:gs pos="2000">
                <a:srgbClr val="9477E2">
                  <a:alpha val="20000"/>
                </a:srgbClr>
              </a:gs>
              <a:gs pos="100000">
                <a:srgbClr val="1F9CF0"/>
              </a:gs>
            </a:gsLst>
            <a:lin ang="18900044"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4" name="Google Shape;324;p30"/>
          <p:cNvSpPr/>
          <p:nvPr/>
        </p:nvSpPr>
        <p:spPr>
          <a:xfrm>
            <a:off x="7856785" y="3678179"/>
            <a:ext cx="1085600" cy="1084000"/>
          </a:xfrm>
          <a:prstGeom prst="roundRect">
            <a:avLst>
              <a:gd name="adj" fmla="val 16667"/>
            </a:avLst>
          </a:prstGeom>
          <a:gradFill>
            <a:gsLst>
              <a:gs pos="0">
                <a:srgbClr val="19C8EB"/>
              </a:gs>
              <a:gs pos="2000">
                <a:srgbClr val="19C8EB"/>
              </a:gs>
              <a:gs pos="100000">
                <a:srgbClr val="9477E2">
                  <a:alpha val="20000"/>
                </a:srgbClr>
              </a:gs>
            </a:gsLst>
            <a:lin ang="18900044"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5" name="Google Shape;325;p30"/>
          <p:cNvSpPr/>
          <p:nvPr/>
        </p:nvSpPr>
        <p:spPr>
          <a:xfrm>
            <a:off x="6771023" y="1373019"/>
            <a:ext cx="2171600" cy="2168000"/>
          </a:xfrm>
          <a:prstGeom prst="roundRect">
            <a:avLst>
              <a:gd name="adj" fmla="val 16667"/>
            </a:avLst>
          </a:prstGeom>
          <a:gradFill>
            <a:gsLst>
              <a:gs pos="0">
                <a:srgbClr val="EC2B8C"/>
              </a:gs>
              <a:gs pos="2000">
                <a:srgbClr val="EC2B8C"/>
              </a:gs>
              <a:gs pos="100000">
                <a:srgbClr val="9477E2">
                  <a:alpha val="2000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6" name="Google Shape;326;p30"/>
          <p:cNvSpPr/>
          <p:nvPr/>
        </p:nvSpPr>
        <p:spPr>
          <a:xfrm>
            <a:off x="9106244" y="3678179"/>
            <a:ext cx="1809600" cy="1806800"/>
          </a:xfrm>
          <a:prstGeom prst="roundRect">
            <a:avLst>
              <a:gd name="adj" fmla="val 16667"/>
            </a:avLst>
          </a:prstGeom>
          <a:gradFill>
            <a:gsLst>
              <a:gs pos="0">
                <a:srgbClr val="9477E2">
                  <a:alpha val="20000"/>
                </a:srgbClr>
              </a:gs>
              <a:gs pos="100000">
                <a:schemeClr val="accent3"/>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cxnSp>
        <p:nvCxnSpPr>
          <p:cNvPr id="327" name="Google Shape;327;p30"/>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cxnSp>
        <p:nvCxnSpPr>
          <p:cNvPr id="328" name="Google Shape;328;p30"/>
          <p:cNvCxnSpPr/>
          <p:nvPr/>
        </p:nvCxnSpPr>
        <p:spPr>
          <a:xfrm>
            <a:off x="1121639" y="292655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29" name="Google Shape;329;p30"/>
          <p:cNvCxnSpPr/>
          <p:nvPr/>
        </p:nvCxnSpPr>
        <p:spPr>
          <a:xfrm>
            <a:off x="3727400" y="2937037"/>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0" name="Google Shape;330;p30"/>
          <p:cNvCxnSpPr/>
          <p:nvPr/>
        </p:nvCxnSpPr>
        <p:spPr>
          <a:xfrm>
            <a:off x="1121639" y="458809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1" name="Google Shape;331;p30"/>
          <p:cNvCxnSpPr/>
          <p:nvPr/>
        </p:nvCxnSpPr>
        <p:spPr>
          <a:xfrm>
            <a:off x="3727400" y="459857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grpSp>
        <p:nvGrpSpPr>
          <p:cNvPr id="332" name="Google Shape;332;p30"/>
          <p:cNvGrpSpPr/>
          <p:nvPr/>
        </p:nvGrpSpPr>
        <p:grpSpPr>
          <a:xfrm>
            <a:off x="8391338" y="2979789"/>
            <a:ext cx="1254273" cy="1251552"/>
            <a:chOff x="6104965" y="2265289"/>
            <a:chExt cx="1855800" cy="1855800"/>
          </a:xfrm>
        </p:grpSpPr>
        <p:sp>
          <p:nvSpPr>
            <p:cNvPr id="333" name="Google Shape;333;p3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34" name="Google Shape;334;p3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35" name="Google Shape;335;p3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pic>
        <p:nvPicPr>
          <p:cNvPr id="336" name="Google Shape;336;p30"/>
          <p:cNvPicPr preferRelativeResize="0"/>
          <p:nvPr/>
        </p:nvPicPr>
        <p:blipFill rotWithShape="1">
          <a:blip r:embed="rId2">
            <a:alphaModFix amt="30000"/>
          </a:blip>
          <a:srcRect/>
          <a:stretch/>
        </p:blipFill>
        <p:spPr>
          <a:xfrm>
            <a:off x="6771023" y="-4241506"/>
            <a:ext cx="5016492" cy="5016492"/>
          </a:xfrm>
          <a:prstGeom prst="rect">
            <a:avLst/>
          </a:prstGeom>
          <a:noFill/>
          <a:ln>
            <a:noFill/>
          </a:ln>
        </p:spPr>
      </p:pic>
      <p:pic>
        <p:nvPicPr>
          <p:cNvPr id="337" name="Google Shape;337;p30"/>
          <p:cNvPicPr preferRelativeResize="0"/>
          <p:nvPr/>
        </p:nvPicPr>
        <p:blipFill rotWithShape="1">
          <a:blip r:embed="rId2">
            <a:alphaModFix amt="30000"/>
          </a:blip>
          <a:srcRect/>
          <a:stretch/>
        </p:blipFill>
        <p:spPr>
          <a:xfrm>
            <a:off x="11356713" y="1097465"/>
            <a:ext cx="5016492" cy="5016492"/>
          </a:xfrm>
          <a:prstGeom prst="rect">
            <a:avLst/>
          </a:prstGeom>
          <a:noFill/>
          <a:ln>
            <a:noFill/>
          </a:ln>
        </p:spPr>
      </p:pic>
      <p:sp>
        <p:nvSpPr>
          <p:cNvPr id="338" name="Google Shape;338;p30"/>
          <p:cNvSpPr/>
          <p:nvPr/>
        </p:nvSpPr>
        <p:spPr>
          <a:xfrm rot="10800000">
            <a:off x="543900" y="467"/>
            <a:ext cx="97600" cy="2567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339" name="Google Shape;339;p3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340" name="Google Shape;340;p30"/>
          <p:cNvSpPr txBox="1">
            <a:spLocks noGrp="1"/>
          </p:cNvSpPr>
          <p:nvPr>
            <p:ph type="title"/>
          </p:nvPr>
        </p:nvSpPr>
        <p:spPr>
          <a:xfrm>
            <a:off x="1060704" y="1243584"/>
            <a:ext cx="4681600" cy="14388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700"/>
              <a:buNone/>
              <a:defRPr sz="2267"/>
            </a:lvl2pPr>
            <a:lvl3pPr lvl="2">
              <a:spcBef>
                <a:spcPts val="0"/>
              </a:spcBef>
              <a:spcAft>
                <a:spcPts val="0"/>
              </a:spcAft>
              <a:buSzPts val="1700"/>
              <a:buNone/>
              <a:defRPr sz="2267"/>
            </a:lvl3pPr>
            <a:lvl4pPr lvl="3">
              <a:spcBef>
                <a:spcPts val="0"/>
              </a:spcBef>
              <a:spcAft>
                <a:spcPts val="0"/>
              </a:spcAft>
              <a:buSzPts val="1700"/>
              <a:buNone/>
              <a:defRPr sz="2267"/>
            </a:lvl4pPr>
            <a:lvl5pPr lvl="4">
              <a:spcBef>
                <a:spcPts val="0"/>
              </a:spcBef>
              <a:spcAft>
                <a:spcPts val="0"/>
              </a:spcAft>
              <a:buSzPts val="1700"/>
              <a:buNone/>
              <a:defRPr sz="2267"/>
            </a:lvl5pPr>
            <a:lvl6pPr lvl="5">
              <a:spcBef>
                <a:spcPts val="0"/>
              </a:spcBef>
              <a:spcAft>
                <a:spcPts val="0"/>
              </a:spcAft>
              <a:buSzPts val="1700"/>
              <a:buNone/>
              <a:defRPr sz="2267"/>
            </a:lvl6pPr>
            <a:lvl7pPr lvl="6">
              <a:spcBef>
                <a:spcPts val="0"/>
              </a:spcBef>
              <a:spcAft>
                <a:spcPts val="0"/>
              </a:spcAft>
              <a:buSzPts val="1700"/>
              <a:buNone/>
              <a:defRPr sz="2267"/>
            </a:lvl7pPr>
            <a:lvl8pPr lvl="7">
              <a:spcBef>
                <a:spcPts val="0"/>
              </a:spcBef>
              <a:spcAft>
                <a:spcPts val="0"/>
              </a:spcAft>
              <a:buSzPts val="1700"/>
              <a:buNone/>
              <a:defRPr sz="2267"/>
            </a:lvl8pPr>
            <a:lvl9pPr lvl="8">
              <a:spcBef>
                <a:spcPts val="0"/>
              </a:spcBef>
              <a:spcAft>
                <a:spcPts val="0"/>
              </a:spcAft>
              <a:buSzPts val="1700"/>
              <a:buNone/>
              <a:defRPr sz="2267"/>
            </a:lvl9pPr>
          </a:lstStyle>
          <a:p>
            <a:endParaRPr/>
          </a:p>
        </p:txBody>
      </p:sp>
      <p:sp>
        <p:nvSpPr>
          <p:cNvPr id="341" name="Google Shape;341;p30"/>
          <p:cNvSpPr>
            <a:spLocks noGrp="1"/>
          </p:cNvSpPr>
          <p:nvPr>
            <p:ph type="pic" idx="2"/>
          </p:nvPr>
        </p:nvSpPr>
        <p:spPr>
          <a:xfrm>
            <a:off x="1121664" y="3108005"/>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345" name="Google Shape;345;p30"/>
          <p:cNvSpPr txBox="1">
            <a:spLocks noGrp="1"/>
          </p:cNvSpPr>
          <p:nvPr>
            <p:ph type="body" idx="6"/>
          </p:nvPr>
        </p:nvSpPr>
        <p:spPr>
          <a:xfrm>
            <a:off x="1560576" y="3097245"/>
            <a:ext cx="1736992"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346" name="Google Shape;346;p30"/>
          <p:cNvSpPr txBox="1">
            <a:spLocks noGrp="1"/>
          </p:cNvSpPr>
          <p:nvPr>
            <p:ph type="body" idx="7"/>
          </p:nvPr>
        </p:nvSpPr>
        <p:spPr>
          <a:xfrm>
            <a:off x="4169664" y="3097245"/>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7" name="Google Shape;347;p30"/>
          <p:cNvSpPr txBox="1">
            <a:spLocks noGrp="1"/>
          </p:cNvSpPr>
          <p:nvPr>
            <p:ph type="body" idx="8"/>
          </p:nvPr>
        </p:nvSpPr>
        <p:spPr>
          <a:xfrm>
            <a:off x="1560576" y="4779741"/>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8" name="Google Shape;348;p30"/>
          <p:cNvSpPr txBox="1">
            <a:spLocks noGrp="1"/>
          </p:cNvSpPr>
          <p:nvPr>
            <p:ph type="body" idx="9"/>
          </p:nvPr>
        </p:nvSpPr>
        <p:spPr>
          <a:xfrm>
            <a:off x="4169664" y="4767549"/>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9" name="Google Shape;349;p30"/>
          <p:cNvSpPr txBox="1">
            <a:spLocks noGrp="1"/>
          </p:cNvSpPr>
          <p:nvPr>
            <p:ph type="body" idx="13"/>
          </p:nvPr>
        </p:nvSpPr>
        <p:spPr>
          <a:xfrm>
            <a:off x="1560576" y="3377661"/>
            <a:ext cx="1816800" cy="78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350" name="Google Shape;350;p30"/>
          <p:cNvSpPr txBox="1">
            <a:spLocks noGrp="1"/>
          </p:cNvSpPr>
          <p:nvPr>
            <p:ph type="body" idx="14"/>
          </p:nvPr>
        </p:nvSpPr>
        <p:spPr>
          <a:xfrm>
            <a:off x="1560576" y="5047965"/>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1" name="Google Shape;351;p30"/>
          <p:cNvSpPr txBox="1">
            <a:spLocks noGrp="1"/>
          </p:cNvSpPr>
          <p:nvPr>
            <p:ph type="body" idx="15"/>
          </p:nvPr>
        </p:nvSpPr>
        <p:spPr>
          <a:xfrm>
            <a:off x="4169676" y="5047965"/>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2" name="Google Shape;352;p30"/>
          <p:cNvSpPr txBox="1">
            <a:spLocks noGrp="1"/>
          </p:cNvSpPr>
          <p:nvPr>
            <p:ph type="body" idx="16"/>
          </p:nvPr>
        </p:nvSpPr>
        <p:spPr>
          <a:xfrm>
            <a:off x="4169664" y="3365469"/>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3" name="Google Shape;353;p30"/>
          <p:cNvSpPr txBox="1">
            <a:spLocks noGrp="1"/>
          </p:cNvSpPr>
          <p:nvPr>
            <p:ph type="title" idx="17"/>
          </p:nvPr>
        </p:nvSpPr>
        <p:spPr>
          <a:xfrm>
            <a:off x="7193280" y="1706880"/>
            <a:ext cx="987600" cy="54980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500"/>
              <a:buNone/>
              <a:defRPr sz="3333" b="1" i="0">
                <a:latin typeface="Helvetica" pitchFamily="2" charset="0"/>
              </a:defRPr>
            </a:lvl1pPr>
            <a:lvl2pPr lvl="1">
              <a:spcBef>
                <a:spcPts val="0"/>
              </a:spcBef>
              <a:spcAft>
                <a:spcPts val="0"/>
              </a:spcAft>
              <a:buSzPts val="2500"/>
              <a:buNone/>
              <a:defRPr sz="3333"/>
            </a:lvl2pPr>
            <a:lvl3pPr lvl="2">
              <a:spcBef>
                <a:spcPts val="0"/>
              </a:spcBef>
              <a:spcAft>
                <a:spcPts val="0"/>
              </a:spcAft>
              <a:buSzPts val="2500"/>
              <a:buNone/>
              <a:defRPr sz="3333"/>
            </a:lvl3pPr>
            <a:lvl4pPr lvl="3">
              <a:spcBef>
                <a:spcPts val="0"/>
              </a:spcBef>
              <a:spcAft>
                <a:spcPts val="0"/>
              </a:spcAft>
              <a:buSzPts val="2500"/>
              <a:buNone/>
              <a:defRPr sz="3333"/>
            </a:lvl4pPr>
            <a:lvl5pPr lvl="4">
              <a:spcBef>
                <a:spcPts val="0"/>
              </a:spcBef>
              <a:spcAft>
                <a:spcPts val="0"/>
              </a:spcAft>
              <a:buSzPts val="2500"/>
              <a:buNone/>
              <a:defRPr sz="3333"/>
            </a:lvl5pPr>
            <a:lvl6pPr lvl="5">
              <a:spcBef>
                <a:spcPts val="0"/>
              </a:spcBef>
              <a:spcAft>
                <a:spcPts val="0"/>
              </a:spcAft>
              <a:buSzPts val="2500"/>
              <a:buNone/>
              <a:defRPr sz="3333"/>
            </a:lvl6pPr>
            <a:lvl7pPr lvl="6">
              <a:spcBef>
                <a:spcPts val="0"/>
              </a:spcBef>
              <a:spcAft>
                <a:spcPts val="0"/>
              </a:spcAft>
              <a:buSzPts val="2500"/>
              <a:buNone/>
              <a:defRPr sz="3333"/>
            </a:lvl7pPr>
            <a:lvl8pPr lvl="7">
              <a:spcBef>
                <a:spcPts val="0"/>
              </a:spcBef>
              <a:spcAft>
                <a:spcPts val="0"/>
              </a:spcAft>
              <a:buSzPts val="2500"/>
              <a:buNone/>
              <a:defRPr sz="3333"/>
            </a:lvl8pPr>
            <a:lvl9pPr lvl="8">
              <a:spcBef>
                <a:spcPts val="0"/>
              </a:spcBef>
              <a:spcAft>
                <a:spcPts val="0"/>
              </a:spcAft>
              <a:buSzPts val="2500"/>
              <a:buNone/>
              <a:defRPr sz="3333"/>
            </a:lvl9pPr>
          </a:lstStyle>
          <a:p>
            <a:endParaRPr/>
          </a:p>
        </p:txBody>
      </p:sp>
      <p:sp>
        <p:nvSpPr>
          <p:cNvPr id="354" name="Google Shape;354;p30"/>
          <p:cNvSpPr txBox="1">
            <a:spLocks noGrp="1"/>
          </p:cNvSpPr>
          <p:nvPr>
            <p:ph type="title" idx="18"/>
          </p:nvPr>
        </p:nvSpPr>
        <p:spPr>
          <a:xfrm>
            <a:off x="9668256" y="2340864"/>
            <a:ext cx="694800" cy="38578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700"/>
              <a:buNone/>
              <a:defRPr sz="22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0"/>
          <p:cNvSpPr>
            <a:spLocks noGrp="1"/>
          </p:cNvSpPr>
          <p:nvPr>
            <p:ph type="pic" idx="19"/>
          </p:nvPr>
        </p:nvSpPr>
        <p:spPr>
          <a:xfrm>
            <a:off x="8802624" y="3389376"/>
            <a:ext cx="4388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56" name="Google Shape;356;p30"/>
          <p:cNvSpPr txBox="1">
            <a:spLocks noGrp="1"/>
          </p:cNvSpPr>
          <p:nvPr>
            <p:ph type="title" idx="20"/>
          </p:nvPr>
        </p:nvSpPr>
        <p:spPr>
          <a:xfrm>
            <a:off x="9814560" y="4657344"/>
            <a:ext cx="841200" cy="475600"/>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100"/>
              <a:buNone/>
              <a:defRPr sz="2800"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 name="Google Shape;357;p30"/>
          <p:cNvSpPr txBox="1">
            <a:spLocks noGrp="1"/>
          </p:cNvSpPr>
          <p:nvPr>
            <p:ph type="title" idx="21"/>
          </p:nvPr>
        </p:nvSpPr>
        <p:spPr>
          <a:xfrm>
            <a:off x="7985760" y="4279392"/>
            <a:ext cx="500000" cy="26267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100"/>
              <a:buNone/>
              <a:defRPr sz="14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341;p30">
            <a:extLst>
              <a:ext uri="{FF2B5EF4-FFF2-40B4-BE49-F238E27FC236}">
                <a16:creationId xmlns:a16="http://schemas.microsoft.com/office/drawing/2014/main" id="{AAF7FB6C-EEA2-5E4D-88E3-B14173AFD815}"/>
              </a:ext>
            </a:extLst>
          </p:cNvPr>
          <p:cNvSpPr>
            <a:spLocks noGrp="1"/>
          </p:cNvSpPr>
          <p:nvPr>
            <p:ph type="pic" idx="22"/>
          </p:nvPr>
        </p:nvSpPr>
        <p:spPr>
          <a:xfrm>
            <a:off x="3727397" y="3108005"/>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43" name="Google Shape;341;p30">
            <a:extLst>
              <a:ext uri="{FF2B5EF4-FFF2-40B4-BE49-F238E27FC236}">
                <a16:creationId xmlns:a16="http://schemas.microsoft.com/office/drawing/2014/main" id="{3CD1E6E8-5829-0C4F-95A7-191B2706C885}"/>
              </a:ext>
            </a:extLst>
          </p:cNvPr>
          <p:cNvSpPr>
            <a:spLocks noGrp="1"/>
          </p:cNvSpPr>
          <p:nvPr>
            <p:ph type="pic" idx="23"/>
          </p:nvPr>
        </p:nvSpPr>
        <p:spPr>
          <a:xfrm>
            <a:off x="1121664" y="4770973"/>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44" name="Google Shape;341;p30">
            <a:extLst>
              <a:ext uri="{FF2B5EF4-FFF2-40B4-BE49-F238E27FC236}">
                <a16:creationId xmlns:a16="http://schemas.microsoft.com/office/drawing/2014/main" id="{7ED488E1-94AA-6041-9182-6D4897990A6D}"/>
              </a:ext>
            </a:extLst>
          </p:cNvPr>
          <p:cNvSpPr>
            <a:spLocks noGrp="1"/>
          </p:cNvSpPr>
          <p:nvPr>
            <p:ph type="pic" idx="24"/>
          </p:nvPr>
        </p:nvSpPr>
        <p:spPr>
          <a:xfrm>
            <a:off x="3727397" y="4770973"/>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Tree>
    <p:extLst>
      <p:ext uri="{BB962C8B-B14F-4D97-AF65-F5344CB8AC3E}">
        <p14:creationId xmlns:p14="http://schemas.microsoft.com/office/powerpoint/2010/main" val="412898233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Three Photo Features" preserve="1" userDrawn="1">
  <p:cSld name="Three Photo Features">
    <p:spTree>
      <p:nvGrpSpPr>
        <p:cNvPr id="1" name="Shape 358"/>
        <p:cNvGrpSpPr/>
        <p:nvPr/>
      </p:nvGrpSpPr>
      <p:grpSpPr>
        <a:xfrm>
          <a:off x="0" y="0"/>
          <a:ext cx="0" cy="0"/>
          <a:chOff x="0" y="0"/>
          <a:chExt cx="0" cy="0"/>
        </a:xfrm>
      </p:grpSpPr>
      <p:cxnSp>
        <p:nvCxnSpPr>
          <p:cNvPr id="362" name="Google Shape;362;p31"/>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363" name="Google Shape;363;p31"/>
          <p:cNvSpPr/>
          <p:nvPr/>
        </p:nvSpPr>
        <p:spPr>
          <a:xfrm>
            <a:off x="1298221" y="5950144"/>
            <a:ext cx="3109200" cy="900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64" name="Google Shape;364;p31"/>
          <p:cNvSpPr/>
          <p:nvPr/>
        </p:nvSpPr>
        <p:spPr>
          <a:xfrm>
            <a:off x="4541397" y="5950008"/>
            <a:ext cx="3109200" cy="90000"/>
          </a:xfrm>
          <a:prstGeom prst="rect">
            <a:avLst/>
          </a:prstGeom>
          <a:gradFill>
            <a:gsLst>
              <a:gs pos="0">
                <a:schemeClr val="accent2"/>
              </a:gs>
              <a:gs pos="100000">
                <a:srgbClr val="5C30D3"/>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65" name="Google Shape;365;p31"/>
          <p:cNvSpPr/>
          <p:nvPr/>
        </p:nvSpPr>
        <p:spPr>
          <a:xfrm>
            <a:off x="7784569" y="5950009"/>
            <a:ext cx="3109200" cy="90000"/>
          </a:xfrm>
          <a:prstGeom prst="rect">
            <a:avLst/>
          </a:prstGeom>
          <a:gradFill>
            <a:gsLst>
              <a:gs pos="0">
                <a:schemeClr val="accent3"/>
              </a:gs>
              <a:gs pos="100000">
                <a:srgbClr val="0070C0"/>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366" name="Google Shape;366;p31"/>
          <p:cNvPicPr preferRelativeResize="0"/>
          <p:nvPr/>
        </p:nvPicPr>
        <p:blipFill rotWithShape="1">
          <a:blip r:embed="rId2">
            <a:alphaModFix amt="30000"/>
          </a:blip>
          <a:srcRect/>
          <a:stretch/>
        </p:blipFill>
        <p:spPr>
          <a:xfrm>
            <a:off x="11153603" y="829071"/>
            <a:ext cx="5016492" cy="5016492"/>
          </a:xfrm>
          <a:prstGeom prst="rect">
            <a:avLst/>
          </a:prstGeom>
          <a:noFill/>
          <a:ln>
            <a:noFill/>
          </a:ln>
        </p:spPr>
      </p:pic>
      <p:pic>
        <p:nvPicPr>
          <p:cNvPr id="367" name="Google Shape;367;p31"/>
          <p:cNvPicPr preferRelativeResize="0"/>
          <p:nvPr/>
        </p:nvPicPr>
        <p:blipFill rotWithShape="1">
          <a:blip r:embed="rId2">
            <a:alphaModFix amt="30000"/>
          </a:blip>
          <a:srcRect/>
          <a:stretch/>
        </p:blipFill>
        <p:spPr>
          <a:xfrm>
            <a:off x="-3985858" y="829071"/>
            <a:ext cx="5016492" cy="5016492"/>
          </a:xfrm>
          <a:prstGeom prst="rect">
            <a:avLst/>
          </a:prstGeom>
          <a:noFill/>
          <a:ln>
            <a:noFill/>
          </a:ln>
        </p:spPr>
      </p:pic>
      <p:sp>
        <p:nvSpPr>
          <p:cNvPr id="368" name="Google Shape;368;p31"/>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369" name="Google Shape;369;p31"/>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1"/>
          <p:cNvSpPr>
            <a:spLocks noGrp="1"/>
          </p:cNvSpPr>
          <p:nvPr>
            <p:ph type="pic" idx="2"/>
          </p:nvPr>
        </p:nvSpPr>
        <p:spPr>
          <a:xfrm>
            <a:off x="1280160"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373" name="Google Shape;373;p31"/>
          <p:cNvSpPr txBox="1">
            <a:spLocks noGrp="1"/>
          </p:cNvSpPr>
          <p:nvPr>
            <p:ph type="body" idx="5"/>
          </p:nvPr>
        </p:nvSpPr>
        <p:spPr>
          <a:xfrm>
            <a:off x="1721555" y="4255008"/>
            <a:ext cx="2268555"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a:lnSpc>
                <a:spcPct val="100000"/>
              </a:lnSpc>
              <a:spcBef>
                <a:spcPts val="0"/>
              </a:spcBef>
              <a:spcAft>
                <a:spcPts val="0"/>
              </a:spcAft>
              <a:buSzPts val="1100"/>
              <a:buChar char="○"/>
              <a:defRPr sz="1467"/>
            </a:lvl2pPr>
            <a:lvl3pPr marL="1828754" lvl="2" indent="-397923" algn="ctr">
              <a:lnSpc>
                <a:spcPct val="100000"/>
              </a:lnSpc>
              <a:spcBef>
                <a:spcPts val="0"/>
              </a:spcBef>
              <a:spcAft>
                <a:spcPts val="0"/>
              </a:spcAft>
              <a:buSzPts val="1100"/>
              <a:buChar char="■"/>
              <a:defRPr sz="1467"/>
            </a:lvl3pPr>
            <a:lvl4pPr marL="2438339" lvl="3" indent="-397923" algn="ctr">
              <a:lnSpc>
                <a:spcPct val="100000"/>
              </a:lnSpc>
              <a:spcBef>
                <a:spcPts val="0"/>
              </a:spcBef>
              <a:spcAft>
                <a:spcPts val="0"/>
              </a:spcAft>
              <a:buSzPts val="1100"/>
              <a:buChar char="●"/>
              <a:defRPr sz="1467"/>
            </a:lvl4pPr>
            <a:lvl5pPr marL="3047924" lvl="4" indent="-397923" algn="ctr">
              <a:lnSpc>
                <a:spcPct val="100000"/>
              </a:lnSpc>
              <a:spcBef>
                <a:spcPts val="0"/>
              </a:spcBef>
              <a:spcAft>
                <a:spcPts val="0"/>
              </a:spcAft>
              <a:buSzPts val="1100"/>
              <a:buChar char="○"/>
              <a:defRPr sz="1467"/>
            </a:lvl5pPr>
            <a:lvl6pPr marL="3657509" lvl="5" indent="-397923" algn="ctr">
              <a:lnSpc>
                <a:spcPct val="100000"/>
              </a:lnSpc>
              <a:spcBef>
                <a:spcPts val="0"/>
              </a:spcBef>
              <a:spcAft>
                <a:spcPts val="0"/>
              </a:spcAft>
              <a:buSzPts val="1100"/>
              <a:buChar char="■"/>
              <a:defRPr sz="1467"/>
            </a:lvl6pPr>
            <a:lvl7pPr marL="4267093" lvl="6" indent="-397923" algn="ctr">
              <a:lnSpc>
                <a:spcPct val="100000"/>
              </a:lnSpc>
              <a:spcBef>
                <a:spcPts val="0"/>
              </a:spcBef>
              <a:spcAft>
                <a:spcPts val="0"/>
              </a:spcAft>
              <a:buSzPts val="1100"/>
              <a:buChar char="●"/>
              <a:defRPr sz="1467"/>
            </a:lvl7pPr>
            <a:lvl8pPr marL="4876678" lvl="7" indent="-397923" algn="ctr">
              <a:lnSpc>
                <a:spcPct val="100000"/>
              </a:lnSpc>
              <a:spcBef>
                <a:spcPts val="0"/>
              </a:spcBef>
              <a:spcAft>
                <a:spcPts val="0"/>
              </a:spcAft>
              <a:buSzPts val="1100"/>
              <a:buChar char="○"/>
              <a:defRPr sz="1467"/>
            </a:lvl8pPr>
            <a:lvl9pPr marL="5486263" lvl="8" indent="-397923" algn="ctr">
              <a:lnSpc>
                <a:spcPct val="100000"/>
              </a:lnSpc>
              <a:spcBef>
                <a:spcPts val="0"/>
              </a:spcBef>
              <a:spcAft>
                <a:spcPts val="0"/>
              </a:spcAft>
              <a:buSzPts val="1100"/>
              <a:buChar char="■"/>
              <a:defRPr sz="1467"/>
            </a:lvl9pPr>
          </a:lstStyle>
          <a:p>
            <a:endParaRPr/>
          </a:p>
        </p:txBody>
      </p:sp>
      <p:sp>
        <p:nvSpPr>
          <p:cNvPr id="374" name="Google Shape;374;p31"/>
          <p:cNvSpPr txBox="1">
            <a:spLocks noGrp="1"/>
          </p:cNvSpPr>
          <p:nvPr>
            <p:ph type="body" idx="6"/>
          </p:nvPr>
        </p:nvSpPr>
        <p:spPr>
          <a:xfrm>
            <a:off x="1487424" y="4596384"/>
            <a:ext cx="2731200" cy="10844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7" b="0" i="0">
                <a:latin typeface="Helvetica" pitchFamily="2" charset="0"/>
              </a:defRPr>
            </a:lvl1pPr>
            <a:lvl2pPr marL="1219170" lvl="1" indent="-372524" algn="ctr">
              <a:spcBef>
                <a:spcPts val="0"/>
              </a:spcBef>
              <a:spcAft>
                <a:spcPts val="0"/>
              </a:spcAft>
              <a:buSzPts val="800"/>
              <a:buChar char="○"/>
              <a:defRPr sz="1067"/>
            </a:lvl2pPr>
            <a:lvl3pPr marL="1828754" lvl="2" indent="-372524" algn="ctr">
              <a:spcBef>
                <a:spcPts val="0"/>
              </a:spcBef>
              <a:spcAft>
                <a:spcPts val="0"/>
              </a:spcAft>
              <a:buSzPts val="800"/>
              <a:buChar char="■"/>
              <a:defRPr sz="1067"/>
            </a:lvl3pPr>
            <a:lvl4pPr marL="2438339" lvl="3" indent="-372524" algn="ctr">
              <a:spcBef>
                <a:spcPts val="0"/>
              </a:spcBef>
              <a:spcAft>
                <a:spcPts val="0"/>
              </a:spcAft>
              <a:buSzPts val="800"/>
              <a:buChar char="●"/>
              <a:defRPr sz="1067"/>
            </a:lvl4pPr>
            <a:lvl5pPr marL="3047924" lvl="4" indent="-372524" algn="ctr">
              <a:spcBef>
                <a:spcPts val="0"/>
              </a:spcBef>
              <a:spcAft>
                <a:spcPts val="0"/>
              </a:spcAft>
              <a:buSzPts val="800"/>
              <a:buChar char="○"/>
              <a:defRPr sz="1067"/>
            </a:lvl5pPr>
            <a:lvl6pPr marL="3657509" lvl="5" indent="-372524" algn="ctr">
              <a:spcBef>
                <a:spcPts val="0"/>
              </a:spcBef>
              <a:spcAft>
                <a:spcPts val="0"/>
              </a:spcAft>
              <a:buSzPts val="800"/>
              <a:buChar char="■"/>
              <a:defRPr sz="1067"/>
            </a:lvl6pPr>
            <a:lvl7pPr marL="4267093" lvl="6" indent="-372524" algn="ctr">
              <a:spcBef>
                <a:spcPts val="0"/>
              </a:spcBef>
              <a:spcAft>
                <a:spcPts val="0"/>
              </a:spcAft>
              <a:buSzPts val="800"/>
              <a:buChar char="●"/>
              <a:defRPr sz="1067"/>
            </a:lvl7pPr>
            <a:lvl8pPr marL="4876678" lvl="7" indent="-372524" algn="ctr">
              <a:spcBef>
                <a:spcPts val="0"/>
              </a:spcBef>
              <a:spcAft>
                <a:spcPts val="0"/>
              </a:spcAft>
              <a:buSzPts val="800"/>
              <a:buChar char="○"/>
              <a:defRPr sz="1067"/>
            </a:lvl8pPr>
            <a:lvl9pPr marL="5486263" lvl="8" indent="-372524" algn="ctr">
              <a:spcBef>
                <a:spcPts val="0"/>
              </a:spcBef>
              <a:spcAft>
                <a:spcPts val="0"/>
              </a:spcAft>
              <a:buSzPts val="800"/>
              <a:buChar char="■"/>
              <a:defRPr sz="1067"/>
            </a:lvl9pPr>
          </a:lstStyle>
          <a:p>
            <a:endParaRPr/>
          </a:p>
        </p:txBody>
      </p:sp>
      <p:sp>
        <p:nvSpPr>
          <p:cNvPr id="375" name="Google Shape;375;p31"/>
          <p:cNvSpPr txBox="1">
            <a:spLocks noGrp="1"/>
          </p:cNvSpPr>
          <p:nvPr>
            <p:ph type="body" idx="7"/>
          </p:nvPr>
        </p:nvSpPr>
        <p:spPr>
          <a:xfrm>
            <a:off x="4922944" y="4249364"/>
            <a:ext cx="23439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rtl="0">
              <a:lnSpc>
                <a:spcPct val="100000"/>
              </a:lnSpc>
              <a:spcBef>
                <a:spcPts val="0"/>
              </a:spcBef>
              <a:spcAft>
                <a:spcPts val="0"/>
              </a:spcAft>
              <a:buSzPts val="1100"/>
              <a:buChar char="○"/>
              <a:defRPr sz="1467"/>
            </a:lvl2pPr>
            <a:lvl3pPr marL="1828754" lvl="2" indent="-397923" algn="ctr" rtl="0">
              <a:lnSpc>
                <a:spcPct val="100000"/>
              </a:lnSpc>
              <a:spcBef>
                <a:spcPts val="0"/>
              </a:spcBef>
              <a:spcAft>
                <a:spcPts val="0"/>
              </a:spcAft>
              <a:buSzPts val="1100"/>
              <a:buChar char="■"/>
              <a:defRPr sz="1467"/>
            </a:lvl3pPr>
            <a:lvl4pPr marL="2438339" lvl="3" indent="-397923" algn="ctr" rtl="0">
              <a:lnSpc>
                <a:spcPct val="100000"/>
              </a:lnSpc>
              <a:spcBef>
                <a:spcPts val="0"/>
              </a:spcBef>
              <a:spcAft>
                <a:spcPts val="0"/>
              </a:spcAft>
              <a:buSzPts val="1100"/>
              <a:buChar char="●"/>
              <a:defRPr sz="1467"/>
            </a:lvl4pPr>
            <a:lvl5pPr marL="3047924" lvl="4" indent="-397923" algn="ctr" rtl="0">
              <a:lnSpc>
                <a:spcPct val="100000"/>
              </a:lnSpc>
              <a:spcBef>
                <a:spcPts val="0"/>
              </a:spcBef>
              <a:spcAft>
                <a:spcPts val="0"/>
              </a:spcAft>
              <a:buSzPts val="1100"/>
              <a:buChar char="○"/>
              <a:defRPr sz="1467"/>
            </a:lvl5pPr>
            <a:lvl6pPr marL="3657509" lvl="5" indent="-397923" algn="ctr" rtl="0">
              <a:lnSpc>
                <a:spcPct val="100000"/>
              </a:lnSpc>
              <a:spcBef>
                <a:spcPts val="0"/>
              </a:spcBef>
              <a:spcAft>
                <a:spcPts val="0"/>
              </a:spcAft>
              <a:buSzPts val="1100"/>
              <a:buChar char="■"/>
              <a:defRPr sz="1467"/>
            </a:lvl6pPr>
            <a:lvl7pPr marL="4267093" lvl="6" indent="-397923" algn="ctr" rtl="0">
              <a:lnSpc>
                <a:spcPct val="100000"/>
              </a:lnSpc>
              <a:spcBef>
                <a:spcPts val="0"/>
              </a:spcBef>
              <a:spcAft>
                <a:spcPts val="0"/>
              </a:spcAft>
              <a:buSzPts val="1100"/>
              <a:buChar char="●"/>
              <a:defRPr sz="1467"/>
            </a:lvl7pPr>
            <a:lvl8pPr marL="4876678" lvl="7" indent="-397923" algn="ctr" rtl="0">
              <a:lnSpc>
                <a:spcPct val="100000"/>
              </a:lnSpc>
              <a:spcBef>
                <a:spcPts val="0"/>
              </a:spcBef>
              <a:spcAft>
                <a:spcPts val="0"/>
              </a:spcAft>
              <a:buSzPts val="1100"/>
              <a:buChar char="○"/>
              <a:defRPr sz="1467"/>
            </a:lvl8pPr>
            <a:lvl9pPr marL="5486263" lvl="8" indent="-397923" algn="ctr" rtl="0">
              <a:lnSpc>
                <a:spcPct val="100000"/>
              </a:lnSpc>
              <a:spcBef>
                <a:spcPts val="0"/>
              </a:spcBef>
              <a:spcAft>
                <a:spcPts val="0"/>
              </a:spcAft>
              <a:buSzPts val="1100"/>
              <a:buChar char="■"/>
              <a:defRPr sz="1467"/>
            </a:lvl9pPr>
          </a:lstStyle>
          <a:p>
            <a:endParaRPr/>
          </a:p>
        </p:txBody>
      </p:sp>
      <p:sp>
        <p:nvSpPr>
          <p:cNvPr id="376" name="Google Shape;376;p31"/>
          <p:cNvSpPr txBox="1">
            <a:spLocks noGrp="1"/>
          </p:cNvSpPr>
          <p:nvPr>
            <p:ph type="body" idx="8"/>
          </p:nvPr>
        </p:nvSpPr>
        <p:spPr>
          <a:xfrm>
            <a:off x="4726508" y="4596384"/>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377" name="Google Shape;377;p31"/>
          <p:cNvSpPr txBox="1">
            <a:spLocks noGrp="1"/>
          </p:cNvSpPr>
          <p:nvPr>
            <p:ph type="body" idx="9"/>
          </p:nvPr>
        </p:nvSpPr>
        <p:spPr>
          <a:xfrm>
            <a:off x="7979184" y="4242816"/>
            <a:ext cx="2725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rtl="0">
              <a:lnSpc>
                <a:spcPct val="100000"/>
              </a:lnSpc>
              <a:spcBef>
                <a:spcPts val="0"/>
              </a:spcBef>
              <a:spcAft>
                <a:spcPts val="0"/>
              </a:spcAft>
              <a:buSzPts val="1100"/>
              <a:buChar char="○"/>
              <a:defRPr sz="1467"/>
            </a:lvl2pPr>
            <a:lvl3pPr marL="1828754" lvl="2" indent="-397923" algn="ctr" rtl="0">
              <a:lnSpc>
                <a:spcPct val="100000"/>
              </a:lnSpc>
              <a:spcBef>
                <a:spcPts val="0"/>
              </a:spcBef>
              <a:spcAft>
                <a:spcPts val="0"/>
              </a:spcAft>
              <a:buSzPts val="1100"/>
              <a:buChar char="■"/>
              <a:defRPr sz="1467"/>
            </a:lvl3pPr>
            <a:lvl4pPr marL="2438339" lvl="3" indent="-397923" algn="ctr" rtl="0">
              <a:lnSpc>
                <a:spcPct val="100000"/>
              </a:lnSpc>
              <a:spcBef>
                <a:spcPts val="0"/>
              </a:spcBef>
              <a:spcAft>
                <a:spcPts val="0"/>
              </a:spcAft>
              <a:buSzPts val="1100"/>
              <a:buChar char="●"/>
              <a:defRPr sz="1467"/>
            </a:lvl4pPr>
            <a:lvl5pPr marL="3047924" lvl="4" indent="-397923" algn="ctr" rtl="0">
              <a:lnSpc>
                <a:spcPct val="100000"/>
              </a:lnSpc>
              <a:spcBef>
                <a:spcPts val="0"/>
              </a:spcBef>
              <a:spcAft>
                <a:spcPts val="0"/>
              </a:spcAft>
              <a:buSzPts val="1100"/>
              <a:buChar char="○"/>
              <a:defRPr sz="1467"/>
            </a:lvl5pPr>
            <a:lvl6pPr marL="3657509" lvl="5" indent="-397923" algn="ctr" rtl="0">
              <a:lnSpc>
                <a:spcPct val="100000"/>
              </a:lnSpc>
              <a:spcBef>
                <a:spcPts val="0"/>
              </a:spcBef>
              <a:spcAft>
                <a:spcPts val="0"/>
              </a:spcAft>
              <a:buSzPts val="1100"/>
              <a:buChar char="■"/>
              <a:defRPr sz="1467"/>
            </a:lvl6pPr>
            <a:lvl7pPr marL="4267093" lvl="6" indent="-397923" algn="ctr" rtl="0">
              <a:lnSpc>
                <a:spcPct val="100000"/>
              </a:lnSpc>
              <a:spcBef>
                <a:spcPts val="0"/>
              </a:spcBef>
              <a:spcAft>
                <a:spcPts val="0"/>
              </a:spcAft>
              <a:buSzPts val="1100"/>
              <a:buChar char="●"/>
              <a:defRPr sz="1467"/>
            </a:lvl7pPr>
            <a:lvl8pPr marL="4876678" lvl="7" indent="-397923" algn="ctr" rtl="0">
              <a:lnSpc>
                <a:spcPct val="100000"/>
              </a:lnSpc>
              <a:spcBef>
                <a:spcPts val="0"/>
              </a:spcBef>
              <a:spcAft>
                <a:spcPts val="0"/>
              </a:spcAft>
              <a:buSzPts val="1100"/>
              <a:buChar char="○"/>
              <a:defRPr sz="1467"/>
            </a:lvl8pPr>
            <a:lvl9pPr marL="5486263" lvl="8" indent="-397923" algn="ctr" rtl="0">
              <a:lnSpc>
                <a:spcPct val="100000"/>
              </a:lnSpc>
              <a:spcBef>
                <a:spcPts val="0"/>
              </a:spcBef>
              <a:spcAft>
                <a:spcPts val="0"/>
              </a:spcAft>
              <a:buSzPts val="1100"/>
              <a:buChar char="■"/>
              <a:defRPr sz="1467"/>
            </a:lvl9pPr>
          </a:lstStyle>
          <a:p>
            <a:endParaRPr/>
          </a:p>
        </p:txBody>
      </p:sp>
      <p:sp>
        <p:nvSpPr>
          <p:cNvPr id="378" name="Google Shape;378;p31"/>
          <p:cNvSpPr txBox="1">
            <a:spLocks noGrp="1"/>
          </p:cNvSpPr>
          <p:nvPr>
            <p:ph type="body" idx="13"/>
          </p:nvPr>
        </p:nvSpPr>
        <p:spPr>
          <a:xfrm>
            <a:off x="7973568" y="4584192"/>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22" name="Google Shape;370;p31">
            <a:extLst>
              <a:ext uri="{FF2B5EF4-FFF2-40B4-BE49-F238E27FC236}">
                <a16:creationId xmlns:a16="http://schemas.microsoft.com/office/drawing/2014/main" id="{26B93829-5EF5-CA41-B05B-10A28F1A387C}"/>
              </a:ext>
            </a:extLst>
          </p:cNvPr>
          <p:cNvSpPr>
            <a:spLocks noGrp="1"/>
          </p:cNvSpPr>
          <p:nvPr>
            <p:ph type="pic" idx="14"/>
          </p:nvPr>
        </p:nvSpPr>
        <p:spPr>
          <a:xfrm>
            <a:off x="4535424"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23" name="Google Shape;370;p31">
            <a:extLst>
              <a:ext uri="{FF2B5EF4-FFF2-40B4-BE49-F238E27FC236}">
                <a16:creationId xmlns:a16="http://schemas.microsoft.com/office/drawing/2014/main" id="{1487CB7F-B5A7-BD46-92B5-05371B90E3A6}"/>
              </a:ext>
            </a:extLst>
          </p:cNvPr>
          <p:cNvSpPr>
            <a:spLocks noGrp="1"/>
          </p:cNvSpPr>
          <p:nvPr>
            <p:ph type="pic" idx="15"/>
          </p:nvPr>
        </p:nvSpPr>
        <p:spPr>
          <a:xfrm>
            <a:off x="7778496"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24" name="Google Shape;268;p27">
            <a:extLst>
              <a:ext uri="{FF2B5EF4-FFF2-40B4-BE49-F238E27FC236}">
                <a16:creationId xmlns:a16="http://schemas.microsoft.com/office/drawing/2014/main" id="{F8758C0D-7D77-1D4E-AAC0-350EE46A5A68}"/>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25" name="Google Shape;67;p15">
            <a:extLst>
              <a:ext uri="{FF2B5EF4-FFF2-40B4-BE49-F238E27FC236}">
                <a16:creationId xmlns:a16="http://schemas.microsoft.com/office/drawing/2014/main" id="{59EF79C9-532E-EB4D-88E4-C7C259E88941}"/>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26" name="Google Shape;56;p14">
            <a:extLst>
              <a:ext uri="{FF2B5EF4-FFF2-40B4-BE49-F238E27FC236}">
                <a16:creationId xmlns:a16="http://schemas.microsoft.com/office/drawing/2014/main" id="{F725563D-7C07-A441-BAB1-37C63D1C97F8}"/>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141985319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matchingName="Timeline" preserve="1">
  <p:cSld name="Timeline">
    <p:spTree>
      <p:nvGrpSpPr>
        <p:cNvPr id="1" name="Shape 423"/>
        <p:cNvGrpSpPr/>
        <p:nvPr/>
      </p:nvGrpSpPr>
      <p:grpSpPr>
        <a:xfrm>
          <a:off x="0" y="0"/>
          <a:ext cx="0" cy="0"/>
          <a:chOff x="0" y="0"/>
          <a:chExt cx="0" cy="0"/>
        </a:xfrm>
      </p:grpSpPr>
      <p:pic>
        <p:nvPicPr>
          <p:cNvPr id="427" name="Google Shape;427;p33" descr="Icon&#10;&#10;Description automatically generated with medium confidence"/>
          <p:cNvPicPr preferRelativeResize="0"/>
          <p:nvPr userDrawn="1"/>
        </p:nvPicPr>
        <p:blipFill rotWithShape="1">
          <a:blip r:embed="rId2">
            <a:alphaModFix amt="40000"/>
          </a:blip>
          <a:srcRect r="33453" b="13524"/>
          <a:stretch/>
        </p:blipFill>
        <p:spPr>
          <a:xfrm>
            <a:off x="6504258" y="5"/>
            <a:ext cx="5687749" cy="6857996"/>
          </a:xfrm>
          <a:prstGeom prst="rect">
            <a:avLst/>
          </a:prstGeom>
          <a:noFill/>
          <a:ln>
            <a:noFill/>
          </a:ln>
        </p:spPr>
      </p:pic>
      <p:cxnSp>
        <p:nvCxnSpPr>
          <p:cNvPr id="428" name="Google Shape;428;p33"/>
          <p:cNvCxnSpPr/>
          <p:nvPr/>
        </p:nvCxnSpPr>
        <p:spPr>
          <a:xfrm>
            <a:off x="1738489" y="4778329"/>
            <a:ext cx="8715200" cy="0"/>
          </a:xfrm>
          <a:prstGeom prst="straightConnector1">
            <a:avLst/>
          </a:prstGeom>
          <a:noFill/>
          <a:ln w="88900" cap="rnd" cmpd="sng">
            <a:solidFill>
              <a:srgbClr val="D8D8D8">
                <a:alpha val="24710"/>
              </a:srgbClr>
            </a:solidFill>
            <a:prstDash val="solid"/>
            <a:round/>
            <a:headEnd type="none" w="sm" len="sm"/>
            <a:tailEnd type="none" w="sm" len="sm"/>
          </a:ln>
        </p:spPr>
      </p:cxnSp>
      <p:grpSp>
        <p:nvGrpSpPr>
          <p:cNvPr id="429" name="Google Shape;429;p33"/>
          <p:cNvGrpSpPr/>
          <p:nvPr/>
        </p:nvGrpSpPr>
        <p:grpSpPr>
          <a:xfrm flipH="1">
            <a:off x="2035085" y="3263573"/>
            <a:ext cx="2415088" cy="1151819"/>
            <a:chOff x="1851659" y="5043862"/>
            <a:chExt cx="4393200" cy="2356422"/>
          </a:xfrm>
        </p:grpSpPr>
        <p:sp>
          <p:nvSpPr>
            <p:cNvPr id="430" name="Google Shape;430;p33"/>
            <p:cNvSpPr/>
            <p:nvPr/>
          </p:nvSpPr>
          <p:spPr>
            <a:xfrm flipH="1">
              <a:off x="1851659" y="5043862"/>
              <a:ext cx="4393200" cy="2109000"/>
            </a:xfrm>
            <a:prstGeom prst="roundRect">
              <a:avLst>
                <a:gd name="adj" fmla="val 3087"/>
              </a:avLst>
            </a:prstGeom>
            <a:gradFill>
              <a:gsLst>
                <a:gs pos="0">
                  <a:srgbClr val="1F9CF0"/>
                </a:gs>
                <a:gs pos="2000">
                  <a:srgbClr val="1F9CF0"/>
                </a:gs>
                <a:gs pos="100000">
                  <a:srgbClr val="9477E2">
                    <a:alpha val="29803"/>
                  </a:srgbClr>
                </a:gs>
              </a:gsLst>
              <a:lin ang="2700006" scaled="0"/>
            </a:gradFill>
            <a:ln>
              <a:noFill/>
            </a:ln>
            <a:effectLst>
              <a:outerShdw blurRad="1270000" dist="1219200" dir="81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1" name="Google Shape;431;p33"/>
            <p:cNvSpPr/>
            <p:nvPr/>
          </p:nvSpPr>
          <p:spPr>
            <a:xfrm rot="10800000">
              <a:off x="3863414" y="7153684"/>
              <a:ext cx="369600" cy="246600"/>
            </a:xfrm>
            <a:prstGeom prst="triangle">
              <a:avLst>
                <a:gd name="adj" fmla="val 50000"/>
              </a:avLst>
            </a:prstGeom>
            <a:gradFill>
              <a:gsLst>
                <a:gs pos="0">
                  <a:srgbClr val="1F9CF0"/>
                </a:gs>
                <a:gs pos="2000">
                  <a:srgbClr val="1F9CF0"/>
                </a:gs>
                <a:gs pos="100000">
                  <a:srgbClr val="9477E2">
                    <a:alpha val="29803"/>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2" name="Google Shape;432;p33"/>
          <p:cNvGrpSpPr/>
          <p:nvPr/>
        </p:nvGrpSpPr>
        <p:grpSpPr>
          <a:xfrm>
            <a:off x="1720636" y="4701176"/>
            <a:ext cx="155499" cy="155267"/>
            <a:chOff x="2991668" y="6807571"/>
            <a:chExt cx="248400" cy="248400"/>
          </a:xfrm>
        </p:grpSpPr>
        <p:sp>
          <p:nvSpPr>
            <p:cNvPr id="433" name="Google Shape;433;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4" name="Google Shape;434;p33"/>
            <p:cNvSpPr/>
            <p:nvPr/>
          </p:nvSpPr>
          <p:spPr>
            <a:xfrm>
              <a:off x="3049014" y="6864917"/>
              <a:ext cx="133800" cy="133800"/>
            </a:xfrm>
            <a:prstGeom prst="ellipse">
              <a:avLst/>
            </a:prstGeom>
            <a:gradFill>
              <a:gsLst>
                <a:gs pos="0">
                  <a:schemeClr val="accent2"/>
                </a:gs>
                <a:gs pos="2000">
                  <a:schemeClr val="accent2"/>
                </a:gs>
                <a:gs pos="100000">
                  <a:srgbClr val="5C2FD2"/>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5" name="Google Shape;435;p33"/>
          <p:cNvGrpSpPr/>
          <p:nvPr/>
        </p:nvGrpSpPr>
        <p:grpSpPr>
          <a:xfrm>
            <a:off x="3165180" y="4701176"/>
            <a:ext cx="155499" cy="155267"/>
            <a:chOff x="2991668" y="6807571"/>
            <a:chExt cx="248400" cy="248400"/>
          </a:xfrm>
        </p:grpSpPr>
        <p:sp>
          <p:nvSpPr>
            <p:cNvPr id="436" name="Google Shape;436;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7" name="Google Shape;437;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2">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8" name="Google Shape;438;p33"/>
          <p:cNvGrpSpPr/>
          <p:nvPr/>
        </p:nvGrpSpPr>
        <p:grpSpPr>
          <a:xfrm>
            <a:off x="4591776" y="4701176"/>
            <a:ext cx="155499" cy="155267"/>
            <a:chOff x="2991668" y="6807571"/>
            <a:chExt cx="248400" cy="248400"/>
          </a:xfrm>
        </p:grpSpPr>
        <p:sp>
          <p:nvSpPr>
            <p:cNvPr id="439" name="Google Shape;439;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0" name="Google Shape;440;p33"/>
            <p:cNvSpPr/>
            <p:nvPr/>
          </p:nvSpPr>
          <p:spPr>
            <a:xfrm>
              <a:off x="3049014" y="6864917"/>
              <a:ext cx="133800" cy="133800"/>
            </a:xfrm>
            <a:prstGeom prst="ellipse">
              <a:avLst/>
            </a:prstGeom>
            <a:gradFill>
              <a:gsLst>
                <a:gs pos="0">
                  <a:schemeClr val="accent3"/>
                </a:gs>
                <a:gs pos="2000">
                  <a:schemeClr val="accent3"/>
                </a:gs>
                <a:gs pos="100000">
                  <a:srgbClr val="4F2995"/>
                </a:gs>
              </a:gsLst>
              <a:path path="circle">
                <a:fillToRect l="50000" t="50000" r="50000" b="50000"/>
              </a:path>
              <a:tileRect/>
            </a:gradFill>
            <a:ln>
              <a:noFill/>
            </a:ln>
            <a:effectLst>
              <a:outerShdw blurRad="1270000" algn="ctr" rotWithShape="0">
                <a:schemeClr val="accent3">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1" name="Google Shape;441;p33"/>
          <p:cNvGrpSpPr/>
          <p:nvPr/>
        </p:nvGrpSpPr>
        <p:grpSpPr>
          <a:xfrm>
            <a:off x="6018371" y="4701176"/>
            <a:ext cx="155499" cy="155267"/>
            <a:chOff x="2991668" y="6807571"/>
            <a:chExt cx="248400" cy="248400"/>
          </a:xfrm>
        </p:grpSpPr>
        <p:sp>
          <p:nvSpPr>
            <p:cNvPr id="442" name="Google Shape;442;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3" name="Google Shape;443;p33"/>
            <p:cNvSpPr/>
            <p:nvPr/>
          </p:nvSpPr>
          <p:spPr>
            <a:xfrm>
              <a:off x="3049014" y="6864917"/>
              <a:ext cx="133800" cy="133800"/>
            </a:xfrm>
            <a:prstGeom prst="ellipse">
              <a:avLst/>
            </a:prstGeom>
            <a:gradFill>
              <a:gsLst>
                <a:gs pos="0">
                  <a:schemeClr val="accent4"/>
                </a:gs>
                <a:gs pos="2000">
                  <a:schemeClr val="accent4"/>
                </a:gs>
                <a:gs pos="100000">
                  <a:srgbClr val="0F98B3"/>
                </a:gs>
              </a:gsLst>
              <a:path path="circle">
                <a:fillToRect l="50000" t="50000" r="50000" b="50000"/>
              </a:path>
              <a:tileRect/>
            </a:gradFill>
            <a:ln>
              <a:noFill/>
            </a:ln>
            <a:effectLst>
              <a:outerShdw blurRad="1270000" algn="ctr" rotWithShape="0">
                <a:schemeClr val="accent4">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4" name="Google Shape;444;p33"/>
          <p:cNvGrpSpPr/>
          <p:nvPr/>
        </p:nvGrpSpPr>
        <p:grpSpPr>
          <a:xfrm>
            <a:off x="7444967" y="4701176"/>
            <a:ext cx="155499" cy="155267"/>
            <a:chOff x="2991668" y="6807571"/>
            <a:chExt cx="248400" cy="248400"/>
          </a:xfrm>
        </p:grpSpPr>
        <p:sp>
          <p:nvSpPr>
            <p:cNvPr id="445" name="Google Shape;445;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6" name="Google Shape;446;p33"/>
            <p:cNvSpPr/>
            <p:nvPr/>
          </p:nvSpPr>
          <p:spPr>
            <a:xfrm>
              <a:off x="3049014" y="6864917"/>
              <a:ext cx="133800" cy="133800"/>
            </a:xfrm>
            <a:prstGeom prst="ellipse">
              <a:avLst/>
            </a:prstGeom>
            <a:gradFill>
              <a:gsLst>
                <a:gs pos="0">
                  <a:schemeClr val="accent5"/>
                </a:gs>
                <a:gs pos="2000">
                  <a:schemeClr val="accent5"/>
                </a:gs>
                <a:gs pos="100000">
                  <a:srgbClr val="66196E"/>
                </a:gs>
              </a:gsLst>
              <a:path path="circle">
                <a:fillToRect l="50000" t="50000" r="50000" b="50000"/>
              </a:path>
              <a:tileRect/>
            </a:gradFill>
            <a:ln>
              <a:noFill/>
            </a:ln>
            <a:effectLst>
              <a:outerShdw blurRad="1270000" algn="ctr" rotWithShape="0">
                <a:schemeClr val="accent5">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7" name="Google Shape;447;p33"/>
          <p:cNvGrpSpPr/>
          <p:nvPr/>
        </p:nvGrpSpPr>
        <p:grpSpPr>
          <a:xfrm>
            <a:off x="8871561" y="4701176"/>
            <a:ext cx="155499" cy="155267"/>
            <a:chOff x="2991668" y="6807571"/>
            <a:chExt cx="248400" cy="248400"/>
          </a:xfrm>
        </p:grpSpPr>
        <p:sp>
          <p:nvSpPr>
            <p:cNvPr id="448" name="Google Shape;448;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9" name="Google Shape;449;p33"/>
            <p:cNvSpPr/>
            <p:nvPr/>
          </p:nvSpPr>
          <p:spPr>
            <a:xfrm>
              <a:off x="3049014" y="6864917"/>
              <a:ext cx="133800" cy="133800"/>
            </a:xfrm>
            <a:prstGeom prst="ellipse">
              <a:avLst/>
            </a:prstGeom>
            <a:gradFill>
              <a:gsLst>
                <a:gs pos="0">
                  <a:schemeClr val="accent6"/>
                </a:gs>
                <a:gs pos="2000">
                  <a:schemeClr val="accent6"/>
                </a:gs>
                <a:gs pos="100000">
                  <a:srgbClr val="980B84"/>
                </a:gs>
              </a:gsLst>
              <a:path path="circle">
                <a:fillToRect l="50000" t="50000" r="50000" b="50000"/>
              </a:path>
              <a:tileRect/>
            </a:gradFill>
            <a:ln>
              <a:noFill/>
            </a:ln>
            <a:effectLst>
              <a:outerShdw blurRad="1270000" algn="ctr" rotWithShape="0">
                <a:schemeClr val="accent6">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50" name="Google Shape;450;p33"/>
          <p:cNvGrpSpPr/>
          <p:nvPr/>
        </p:nvGrpSpPr>
        <p:grpSpPr>
          <a:xfrm>
            <a:off x="10316107" y="4701176"/>
            <a:ext cx="155499" cy="155267"/>
            <a:chOff x="2991668" y="6807571"/>
            <a:chExt cx="248400" cy="248400"/>
          </a:xfrm>
        </p:grpSpPr>
        <p:sp>
          <p:nvSpPr>
            <p:cNvPr id="451" name="Google Shape;451;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52" name="Google Shape;452;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cxnSp>
        <p:nvCxnSpPr>
          <p:cNvPr id="453" name="Google Shape;453;p33"/>
          <p:cNvCxnSpPr/>
          <p:nvPr/>
        </p:nvCxnSpPr>
        <p:spPr>
          <a:xfrm>
            <a:off x="1044273"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454" name="Google Shape;454;p33"/>
          <p:cNvSpPr/>
          <p:nvPr/>
        </p:nvSpPr>
        <p:spPr>
          <a:xfrm rot="10800000">
            <a:off x="494067" y="233"/>
            <a:ext cx="100000" cy="23120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455" name="Google Shape;455;p33"/>
          <p:cNvSpPr txBox="1">
            <a:spLocks noGrp="1"/>
          </p:cNvSpPr>
          <p:nvPr>
            <p:ph type="subTitle" idx="1"/>
          </p:nvPr>
        </p:nvSpPr>
        <p:spPr>
          <a:xfrm>
            <a:off x="999744" y="573024"/>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456" name="Google Shape;456;p33"/>
          <p:cNvSpPr txBox="1">
            <a:spLocks noGrp="1"/>
          </p:cNvSpPr>
          <p:nvPr>
            <p:ph type="title"/>
          </p:nvPr>
        </p:nvSpPr>
        <p:spPr>
          <a:xfrm>
            <a:off x="987552" y="112166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solidFill>
                  <a:schemeClr val="bg1"/>
                </a:solidFill>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33"/>
          <p:cNvSpPr txBox="1">
            <a:spLocks noGrp="1"/>
          </p:cNvSpPr>
          <p:nvPr>
            <p:ph type="body" idx="2"/>
          </p:nvPr>
        </p:nvSpPr>
        <p:spPr>
          <a:xfrm>
            <a:off x="5364352" y="1121664"/>
            <a:ext cx="3901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458" name="Google Shape;458;p33"/>
          <p:cNvSpPr txBox="1">
            <a:spLocks noGrp="1"/>
          </p:cNvSpPr>
          <p:nvPr>
            <p:ph type="body" idx="3"/>
          </p:nvPr>
        </p:nvSpPr>
        <p:spPr>
          <a:xfrm>
            <a:off x="2426208" y="3352800"/>
            <a:ext cx="1633600" cy="195200"/>
          </a:xfrm>
          <a:prstGeom prst="rect">
            <a:avLst/>
          </a:prstGeom>
        </p:spPr>
        <p:txBody>
          <a:bodyPr spcFirstLastPara="1" wrap="square" lIns="45700" tIns="18275" rIns="45700" bIns="18275" anchor="t" anchorCtr="0">
            <a:noAutofit/>
          </a:bodyPr>
          <a:lstStyle>
            <a:lvl1pPr marL="1693" lvl="0" indent="0" algn="ctr">
              <a:lnSpc>
                <a:spcPct val="100000"/>
              </a:lnSpc>
              <a:spcBef>
                <a:spcPts val="0"/>
              </a:spcBef>
              <a:spcAft>
                <a:spcPts val="0"/>
              </a:spcAft>
              <a:buSzPts val="700"/>
              <a:buNone/>
              <a:defRPr sz="800" b="0" i="0">
                <a:latin typeface="Helvetica" pitchFamily="2" charset="0"/>
              </a:defRPr>
            </a:lvl1pPr>
            <a:lvl2pPr marL="1219170" lvl="1" indent="-364058" algn="ctr">
              <a:spcBef>
                <a:spcPts val="0"/>
              </a:spcBef>
              <a:spcAft>
                <a:spcPts val="0"/>
              </a:spcAft>
              <a:buSzPts val="700"/>
              <a:buChar char="○"/>
              <a:defRPr sz="933"/>
            </a:lvl2pPr>
            <a:lvl3pPr marL="1828754" lvl="2" indent="-364058" algn="ctr">
              <a:spcBef>
                <a:spcPts val="0"/>
              </a:spcBef>
              <a:spcAft>
                <a:spcPts val="0"/>
              </a:spcAft>
              <a:buSzPts val="700"/>
              <a:buChar char="■"/>
              <a:defRPr sz="933"/>
            </a:lvl3pPr>
            <a:lvl4pPr marL="2438339" lvl="3" indent="-364058" algn="ctr">
              <a:spcBef>
                <a:spcPts val="0"/>
              </a:spcBef>
              <a:spcAft>
                <a:spcPts val="0"/>
              </a:spcAft>
              <a:buSzPts val="700"/>
              <a:buChar char="●"/>
              <a:defRPr sz="933"/>
            </a:lvl4pPr>
            <a:lvl5pPr marL="3047924" lvl="4" indent="-364058" algn="ctr">
              <a:spcBef>
                <a:spcPts val="0"/>
              </a:spcBef>
              <a:spcAft>
                <a:spcPts val="0"/>
              </a:spcAft>
              <a:buSzPts val="700"/>
              <a:buChar char="○"/>
              <a:defRPr sz="933"/>
            </a:lvl5pPr>
            <a:lvl6pPr marL="3657509" lvl="5" indent="-364058" algn="ctr">
              <a:spcBef>
                <a:spcPts val="0"/>
              </a:spcBef>
              <a:spcAft>
                <a:spcPts val="0"/>
              </a:spcAft>
              <a:buSzPts val="700"/>
              <a:buChar char="■"/>
              <a:defRPr sz="933"/>
            </a:lvl6pPr>
            <a:lvl7pPr marL="4267093" lvl="6" indent="-364058" algn="ctr">
              <a:spcBef>
                <a:spcPts val="0"/>
              </a:spcBef>
              <a:spcAft>
                <a:spcPts val="0"/>
              </a:spcAft>
              <a:buSzPts val="700"/>
              <a:buChar char="●"/>
              <a:defRPr sz="933"/>
            </a:lvl7pPr>
            <a:lvl8pPr marL="4876678" lvl="7" indent="-364058" algn="ctr">
              <a:spcBef>
                <a:spcPts val="0"/>
              </a:spcBef>
              <a:spcAft>
                <a:spcPts val="0"/>
              </a:spcAft>
              <a:buSzPts val="700"/>
              <a:buChar char="○"/>
              <a:defRPr sz="933"/>
            </a:lvl8pPr>
            <a:lvl9pPr marL="5486263" lvl="8" indent="-364058" algn="ctr">
              <a:spcBef>
                <a:spcPts val="0"/>
              </a:spcBef>
              <a:spcAft>
                <a:spcPts val="0"/>
              </a:spcAft>
              <a:buSzPts val="700"/>
              <a:buChar char="■"/>
              <a:defRPr sz="933"/>
            </a:lvl9pPr>
          </a:lstStyle>
          <a:p>
            <a:endParaRPr/>
          </a:p>
        </p:txBody>
      </p:sp>
      <p:sp>
        <p:nvSpPr>
          <p:cNvPr id="459" name="Google Shape;459;p33"/>
          <p:cNvSpPr txBox="1">
            <a:spLocks noGrp="1"/>
          </p:cNvSpPr>
          <p:nvPr>
            <p:ph type="body" idx="4"/>
          </p:nvPr>
        </p:nvSpPr>
        <p:spPr>
          <a:xfrm>
            <a:off x="2426208" y="3535680"/>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0" name="Google Shape;460;p33"/>
          <p:cNvSpPr txBox="1">
            <a:spLocks noGrp="1"/>
          </p:cNvSpPr>
          <p:nvPr>
            <p:ph type="body" idx="5"/>
          </p:nvPr>
        </p:nvSpPr>
        <p:spPr>
          <a:xfrm>
            <a:off x="2036064" y="3779520"/>
            <a:ext cx="2414000" cy="41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1" name="Google Shape;461;p33"/>
          <p:cNvSpPr txBox="1">
            <a:spLocks noGrp="1"/>
          </p:cNvSpPr>
          <p:nvPr>
            <p:ph type="body" idx="6"/>
          </p:nvPr>
        </p:nvSpPr>
        <p:spPr>
          <a:xfrm>
            <a:off x="98755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2" name="Google Shape;462;p33"/>
          <p:cNvSpPr txBox="1">
            <a:spLocks noGrp="1"/>
          </p:cNvSpPr>
          <p:nvPr>
            <p:ph type="body" idx="7"/>
          </p:nvPr>
        </p:nvSpPr>
        <p:spPr>
          <a:xfrm>
            <a:off x="385270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3" name="Google Shape;463;p33"/>
          <p:cNvSpPr txBox="1">
            <a:spLocks noGrp="1"/>
          </p:cNvSpPr>
          <p:nvPr>
            <p:ph type="body" idx="8"/>
          </p:nvPr>
        </p:nvSpPr>
        <p:spPr>
          <a:xfrm>
            <a:off x="5279136" y="37307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4" name="Google Shape;464;p33"/>
          <p:cNvSpPr txBox="1">
            <a:spLocks noGrp="1"/>
          </p:cNvSpPr>
          <p:nvPr>
            <p:ph type="body" idx="9"/>
          </p:nvPr>
        </p:nvSpPr>
        <p:spPr>
          <a:xfrm>
            <a:off x="6705600"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5" name="Google Shape;465;p33"/>
          <p:cNvSpPr txBox="1">
            <a:spLocks noGrp="1"/>
          </p:cNvSpPr>
          <p:nvPr>
            <p:ph type="body" idx="13"/>
          </p:nvPr>
        </p:nvSpPr>
        <p:spPr>
          <a:xfrm>
            <a:off x="8132064" y="374294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6" name="Google Shape;466;p33"/>
          <p:cNvSpPr txBox="1">
            <a:spLocks noGrp="1"/>
          </p:cNvSpPr>
          <p:nvPr>
            <p:ph type="body" idx="14"/>
          </p:nvPr>
        </p:nvSpPr>
        <p:spPr>
          <a:xfrm>
            <a:off x="958291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7" name="Google Shape;467;p33"/>
          <p:cNvSpPr txBox="1">
            <a:spLocks noGrp="1"/>
          </p:cNvSpPr>
          <p:nvPr>
            <p:ph type="body" idx="15"/>
          </p:nvPr>
        </p:nvSpPr>
        <p:spPr>
          <a:xfrm>
            <a:off x="98755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8" name="Google Shape;468;p33"/>
          <p:cNvSpPr txBox="1">
            <a:spLocks noGrp="1"/>
          </p:cNvSpPr>
          <p:nvPr>
            <p:ph type="body" idx="16"/>
          </p:nvPr>
        </p:nvSpPr>
        <p:spPr>
          <a:xfrm>
            <a:off x="385267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9" name="Google Shape;469;p33"/>
          <p:cNvSpPr txBox="1">
            <a:spLocks noGrp="1"/>
          </p:cNvSpPr>
          <p:nvPr>
            <p:ph type="body" idx="17"/>
          </p:nvPr>
        </p:nvSpPr>
        <p:spPr>
          <a:xfrm>
            <a:off x="6705600"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0" name="Google Shape;470;p33"/>
          <p:cNvSpPr txBox="1">
            <a:spLocks noGrp="1"/>
          </p:cNvSpPr>
          <p:nvPr>
            <p:ph type="body" idx="18"/>
          </p:nvPr>
        </p:nvSpPr>
        <p:spPr>
          <a:xfrm>
            <a:off x="958291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1" name="Google Shape;471;p33"/>
          <p:cNvSpPr txBox="1">
            <a:spLocks noGrp="1"/>
          </p:cNvSpPr>
          <p:nvPr>
            <p:ph type="body" idx="19"/>
          </p:nvPr>
        </p:nvSpPr>
        <p:spPr>
          <a:xfrm>
            <a:off x="5279136" y="399897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2" name="Google Shape;472;p33"/>
          <p:cNvSpPr txBox="1">
            <a:spLocks noGrp="1"/>
          </p:cNvSpPr>
          <p:nvPr>
            <p:ph type="body" idx="20"/>
          </p:nvPr>
        </p:nvSpPr>
        <p:spPr>
          <a:xfrm>
            <a:off x="8132064" y="401116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51" name="Google Shape;268;p27">
            <a:extLst>
              <a:ext uri="{FF2B5EF4-FFF2-40B4-BE49-F238E27FC236}">
                <a16:creationId xmlns:a16="http://schemas.microsoft.com/office/drawing/2014/main" id="{BD598AAA-EC64-E247-A143-0FD7003A5EBE}"/>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52" name="Google Shape;67;p15">
            <a:extLst>
              <a:ext uri="{FF2B5EF4-FFF2-40B4-BE49-F238E27FC236}">
                <a16:creationId xmlns:a16="http://schemas.microsoft.com/office/drawing/2014/main" id="{1D16FF24-B0F8-B641-AD66-E286C3F257F6}"/>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53" name="Google Shape;56;p14">
            <a:extLst>
              <a:ext uri="{FF2B5EF4-FFF2-40B4-BE49-F238E27FC236}">
                <a16:creationId xmlns:a16="http://schemas.microsoft.com/office/drawing/2014/main" id="{F98B535C-A92F-3042-A017-2B58F04D3CD6}"/>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266335102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matchingName="Left-side Three Features" preserve="1" userDrawn="1">
  <p:cSld name="Left-side Three Features">
    <p:spTree>
      <p:nvGrpSpPr>
        <p:cNvPr id="1" name="Shape 473"/>
        <p:cNvGrpSpPr/>
        <p:nvPr/>
      </p:nvGrpSpPr>
      <p:grpSpPr>
        <a:xfrm>
          <a:off x="0" y="0"/>
          <a:ext cx="0" cy="0"/>
          <a:chOff x="0" y="0"/>
          <a:chExt cx="0" cy="0"/>
        </a:xfrm>
      </p:grpSpPr>
      <p:sp>
        <p:nvSpPr>
          <p:cNvPr id="477" name="Google Shape;477;p34"/>
          <p:cNvSpPr/>
          <p:nvPr/>
        </p:nvSpPr>
        <p:spPr>
          <a:xfrm>
            <a:off x="8848491" y="-840651"/>
            <a:ext cx="8552400" cy="8539200"/>
          </a:xfrm>
          <a:prstGeom prst="ellipse">
            <a:avLst/>
          </a:prstGeom>
          <a:gradFill>
            <a:gsLst>
              <a:gs pos="0">
                <a:srgbClr val="1F9CF0"/>
              </a:gs>
              <a:gs pos="100000">
                <a:srgbClr val="D59DFF">
                  <a:alpha val="42352"/>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78" name="Google Shape;478;p34"/>
          <p:cNvSpPr/>
          <p:nvPr/>
        </p:nvSpPr>
        <p:spPr>
          <a:xfrm>
            <a:off x="7031928" y="3824431"/>
            <a:ext cx="2150000" cy="2146400"/>
          </a:xfrm>
          <a:prstGeom prst="ellipse">
            <a:avLst/>
          </a:prstGeom>
          <a:gradFill>
            <a:gsLst>
              <a:gs pos="0">
                <a:srgbClr val="8661C5"/>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479" name="Google Shape;479;p34"/>
          <p:cNvGrpSpPr/>
          <p:nvPr/>
        </p:nvGrpSpPr>
        <p:grpSpPr>
          <a:xfrm>
            <a:off x="1287133" y="954654"/>
            <a:ext cx="4809008" cy="1480471"/>
            <a:chOff x="1981200" y="3575359"/>
            <a:chExt cx="6892330" cy="2368500"/>
          </a:xfrm>
        </p:grpSpPr>
        <p:sp>
          <p:nvSpPr>
            <p:cNvPr id="480" name="Google Shape;480;p34"/>
            <p:cNvSpPr/>
            <p:nvPr/>
          </p:nvSpPr>
          <p:spPr>
            <a:xfrm>
              <a:off x="1981200" y="3575359"/>
              <a:ext cx="6630300" cy="2368500"/>
            </a:xfrm>
            <a:prstGeom prst="roundRect">
              <a:avLst>
                <a:gd name="adj" fmla="val 3188"/>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1" name="Google Shape;481;p34"/>
            <p:cNvSpPr/>
            <p:nvPr/>
          </p:nvSpPr>
          <p:spPr>
            <a:xfrm rot="5400000">
              <a:off x="8503930" y="4648452"/>
              <a:ext cx="477000" cy="262200"/>
            </a:xfrm>
            <a:prstGeom prst="triangle">
              <a:avLst>
                <a:gd name="adj" fmla="val 50000"/>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pic>
        <p:nvPicPr>
          <p:cNvPr id="482" name="Google Shape;482;p34"/>
          <p:cNvPicPr preferRelativeResize="0"/>
          <p:nvPr/>
        </p:nvPicPr>
        <p:blipFill rotWithShape="1">
          <a:blip r:embed="rId2">
            <a:alphaModFix amt="30000"/>
          </a:blip>
          <a:srcRect/>
          <a:stretch/>
        </p:blipFill>
        <p:spPr>
          <a:xfrm>
            <a:off x="7365166" y="-1396267"/>
            <a:ext cx="5016492" cy="5016492"/>
          </a:xfrm>
          <a:prstGeom prst="rect">
            <a:avLst/>
          </a:prstGeom>
          <a:noFill/>
          <a:ln>
            <a:noFill/>
          </a:ln>
        </p:spPr>
      </p:pic>
      <p:grpSp>
        <p:nvGrpSpPr>
          <p:cNvPr id="483" name="Google Shape;483;p34"/>
          <p:cNvGrpSpPr/>
          <p:nvPr/>
        </p:nvGrpSpPr>
        <p:grpSpPr>
          <a:xfrm>
            <a:off x="806624" y="1225639"/>
            <a:ext cx="961160" cy="959165"/>
            <a:chOff x="1551767" y="2937134"/>
            <a:chExt cx="1535400" cy="1534500"/>
          </a:xfrm>
        </p:grpSpPr>
        <p:sp>
          <p:nvSpPr>
            <p:cNvPr id="484" name="Google Shape;484;p34"/>
            <p:cNvSpPr/>
            <p:nvPr/>
          </p:nvSpPr>
          <p:spPr>
            <a:xfrm>
              <a:off x="1551767" y="2937134"/>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5" name="Google Shape;485;p34"/>
            <p:cNvSpPr/>
            <p:nvPr/>
          </p:nvSpPr>
          <p:spPr>
            <a:xfrm>
              <a:off x="1811292" y="3198537"/>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486" name="Google Shape;486;p34"/>
          <p:cNvSpPr/>
          <p:nvPr/>
        </p:nvSpPr>
        <p:spPr>
          <a:xfrm>
            <a:off x="806415" y="2735360"/>
            <a:ext cx="961200" cy="959200"/>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7" name="Google Shape;487;p34"/>
          <p:cNvSpPr/>
          <p:nvPr/>
        </p:nvSpPr>
        <p:spPr>
          <a:xfrm>
            <a:off x="968788" y="2898737"/>
            <a:ext cx="636800" cy="635600"/>
          </a:xfrm>
          <a:prstGeom prst="ellipse">
            <a:avLst/>
          </a:prstGeom>
          <a:solidFill>
            <a:schemeClr val="accent3"/>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8" name="Google Shape;488;p34"/>
          <p:cNvSpPr/>
          <p:nvPr/>
        </p:nvSpPr>
        <p:spPr>
          <a:xfrm>
            <a:off x="1286943" y="2515657"/>
            <a:ext cx="4626000" cy="1480400"/>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9" name="Google Shape;489;p34"/>
          <p:cNvSpPr/>
          <p:nvPr/>
        </p:nvSpPr>
        <p:spPr>
          <a:xfrm>
            <a:off x="806415" y="4296603"/>
            <a:ext cx="961200" cy="959200"/>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0" name="Google Shape;490;p34"/>
          <p:cNvSpPr/>
          <p:nvPr/>
        </p:nvSpPr>
        <p:spPr>
          <a:xfrm>
            <a:off x="968788" y="4459980"/>
            <a:ext cx="636800" cy="635600"/>
          </a:xfrm>
          <a:prstGeom prst="ellipse">
            <a:avLst/>
          </a:prstGeom>
          <a:solidFill>
            <a:schemeClr val="accent3"/>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1" name="Google Shape;491;p34"/>
          <p:cNvSpPr/>
          <p:nvPr/>
        </p:nvSpPr>
        <p:spPr>
          <a:xfrm>
            <a:off x="1286943" y="4076900"/>
            <a:ext cx="4626000" cy="1480400"/>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2" name="Google Shape;492;p34"/>
          <p:cNvSpPr>
            <a:spLocks noGrp="1"/>
          </p:cNvSpPr>
          <p:nvPr>
            <p:ph type="pic" idx="2"/>
          </p:nvPr>
        </p:nvSpPr>
        <p:spPr>
          <a:xfrm>
            <a:off x="1060704" y="1487424"/>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95" name="Google Shape;495;p34"/>
          <p:cNvSpPr txBox="1">
            <a:spLocks noGrp="1"/>
          </p:cNvSpPr>
          <p:nvPr>
            <p:ph type="body" idx="1"/>
          </p:nvPr>
        </p:nvSpPr>
        <p:spPr>
          <a:xfrm>
            <a:off x="1987296" y="1158240"/>
            <a:ext cx="2072800" cy="2928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nSpc>
                <a:spcPct val="100000"/>
              </a:lnSpc>
              <a:spcBef>
                <a:spcPts val="0"/>
              </a:spcBef>
              <a:spcAft>
                <a:spcPts val="0"/>
              </a:spcAft>
              <a:buSzPts val="1100"/>
              <a:buChar char="○"/>
              <a:defRPr sz="1467"/>
            </a:lvl2pPr>
            <a:lvl3pPr marL="1828754" lvl="2" indent="-397923">
              <a:lnSpc>
                <a:spcPct val="100000"/>
              </a:lnSpc>
              <a:spcBef>
                <a:spcPts val="0"/>
              </a:spcBef>
              <a:spcAft>
                <a:spcPts val="0"/>
              </a:spcAft>
              <a:buSzPts val="1100"/>
              <a:buChar char="■"/>
              <a:defRPr sz="1467"/>
            </a:lvl3pPr>
            <a:lvl4pPr marL="2438339" lvl="3" indent="-397923">
              <a:lnSpc>
                <a:spcPct val="100000"/>
              </a:lnSpc>
              <a:spcBef>
                <a:spcPts val="0"/>
              </a:spcBef>
              <a:spcAft>
                <a:spcPts val="0"/>
              </a:spcAft>
              <a:buSzPts val="1100"/>
              <a:buChar char="●"/>
              <a:defRPr sz="1467"/>
            </a:lvl4pPr>
            <a:lvl5pPr marL="3047924" lvl="4" indent="-397923">
              <a:lnSpc>
                <a:spcPct val="100000"/>
              </a:lnSpc>
              <a:spcBef>
                <a:spcPts val="0"/>
              </a:spcBef>
              <a:spcAft>
                <a:spcPts val="0"/>
              </a:spcAft>
              <a:buSzPts val="1100"/>
              <a:buChar char="○"/>
              <a:defRPr sz="1467"/>
            </a:lvl5pPr>
            <a:lvl6pPr marL="3657509" lvl="5" indent="-397923">
              <a:lnSpc>
                <a:spcPct val="100000"/>
              </a:lnSpc>
              <a:spcBef>
                <a:spcPts val="0"/>
              </a:spcBef>
              <a:spcAft>
                <a:spcPts val="0"/>
              </a:spcAft>
              <a:buSzPts val="1100"/>
              <a:buChar char="■"/>
              <a:defRPr sz="1467"/>
            </a:lvl6pPr>
            <a:lvl7pPr marL="4267093" lvl="6" indent="-397923">
              <a:lnSpc>
                <a:spcPct val="100000"/>
              </a:lnSpc>
              <a:spcBef>
                <a:spcPts val="0"/>
              </a:spcBef>
              <a:spcAft>
                <a:spcPts val="0"/>
              </a:spcAft>
              <a:buSzPts val="1100"/>
              <a:buChar char="●"/>
              <a:defRPr sz="1467"/>
            </a:lvl7pPr>
            <a:lvl8pPr marL="4876678" lvl="7" indent="-397923">
              <a:lnSpc>
                <a:spcPct val="100000"/>
              </a:lnSpc>
              <a:spcBef>
                <a:spcPts val="0"/>
              </a:spcBef>
              <a:spcAft>
                <a:spcPts val="0"/>
              </a:spcAft>
              <a:buSzPts val="1100"/>
              <a:buChar char="○"/>
              <a:defRPr sz="1467"/>
            </a:lvl8pPr>
            <a:lvl9pPr marL="5486263" lvl="8" indent="-397923">
              <a:lnSpc>
                <a:spcPct val="100000"/>
              </a:lnSpc>
              <a:spcBef>
                <a:spcPts val="0"/>
              </a:spcBef>
              <a:spcAft>
                <a:spcPts val="0"/>
              </a:spcAft>
              <a:buSzPts val="1100"/>
              <a:buChar char="■"/>
              <a:defRPr sz="1467"/>
            </a:lvl9pPr>
          </a:lstStyle>
          <a:p>
            <a:endParaRPr/>
          </a:p>
        </p:txBody>
      </p:sp>
      <p:sp>
        <p:nvSpPr>
          <p:cNvPr id="496" name="Google Shape;496;p34"/>
          <p:cNvSpPr txBox="1">
            <a:spLocks noGrp="1"/>
          </p:cNvSpPr>
          <p:nvPr>
            <p:ph type="body" idx="5"/>
          </p:nvPr>
        </p:nvSpPr>
        <p:spPr>
          <a:xfrm>
            <a:off x="1987296" y="1499616"/>
            <a:ext cx="34136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497" name="Google Shape;497;p34"/>
          <p:cNvSpPr txBox="1">
            <a:spLocks noGrp="1"/>
          </p:cNvSpPr>
          <p:nvPr>
            <p:ph type="body" idx="6"/>
          </p:nvPr>
        </p:nvSpPr>
        <p:spPr>
          <a:xfrm>
            <a:off x="1987296" y="2718816"/>
            <a:ext cx="2072800" cy="2928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rtl="0">
              <a:lnSpc>
                <a:spcPct val="100000"/>
              </a:lnSpc>
              <a:spcBef>
                <a:spcPts val="0"/>
              </a:spcBef>
              <a:spcAft>
                <a:spcPts val="0"/>
              </a:spcAft>
              <a:buSzPts val="1100"/>
              <a:buChar char="○"/>
              <a:defRPr sz="1467"/>
            </a:lvl2pPr>
            <a:lvl3pPr marL="1828754" lvl="2" indent="-397923" rtl="0">
              <a:lnSpc>
                <a:spcPct val="100000"/>
              </a:lnSpc>
              <a:spcBef>
                <a:spcPts val="0"/>
              </a:spcBef>
              <a:spcAft>
                <a:spcPts val="0"/>
              </a:spcAft>
              <a:buSzPts val="1100"/>
              <a:buChar char="■"/>
              <a:defRPr sz="1467"/>
            </a:lvl3pPr>
            <a:lvl4pPr marL="2438339" lvl="3" indent="-397923" rtl="0">
              <a:lnSpc>
                <a:spcPct val="100000"/>
              </a:lnSpc>
              <a:spcBef>
                <a:spcPts val="0"/>
              </a:spcBef>
              <a:spcAft>
                <a:spcPts val="0"/>
              </a:spcAft>
              <a:buSzPts val="1100"/>
              <a:buChar char="●"/>
              <a:defRPr sz="1467"/>
            </a:lvl4pPr>
            <a:lvl5pPr marL="3047924" lvl="4" indent="-397923" rtl="0">
              <a:lnSpc>
                <a:spcPct val="100000"/>
              </a:lnSpc>
              <a:spcBef>
                <a:spcPts val="0"/>
              </a:spcBef>
              <a:spcAft>
                <a:spcPts val="0"/>
              </a:spcAft>
              <a:buSzPts val="1100"/>
              <a:buChar char="○"/>
              <a:defRPr sz="1467"/>
            </a:lvl5pPr>
            <a:lvl6pPr marL="3657509" lvl="5" indent="-397923" rtl="0">
              <a:lnSpc>
                <a:spcPct val="100000"/>
              </a:lnSpc>
              <a:spcBef>
                <a:spcPts val="0"/>
              </a:spcBef>
              <a:spcAft>
                <a:spcPts val="0"/>
              </a:spcAft>
              <a:buSzPts val="1100"/>
              <a:buChar char="■"/>
              <a:defRPr sz="1467"/>
            </a:lvl6pPr>
            <a:lvl7pPr marL="4267093" lvl="6" indent="-397923" rtl="0">
              <a:lnSpc>
                <a:spcPct val="100000"/>
              </a:lnSpc>
              <a:spcBef>
                <a:spcPts val="0"/>
              </a:spcBef>
              <a:spcAft>
                <a:spcPts val="0"/>
              </a:spcAft>
              <a:buSzPts val="1100"/>
              <a:buChar char="●"/>
              <a:defRPr sz="1467"/>
            </a:lvl7pPr>
            <a:lvl8pPr marL="4876678" lvl="7" indent="-397923" rtl="0">
              <a:lnSpc>
                <a:spcPct val="100000"/>
              </a:lnSpc>
              <a:spcBef>
                <a:spcPts val="0"/>
              </a:spcBef>
              <a:spcAft>
                <a:spcPts val="0"/>
              </a:spcAft>
              <a:buSzPts val="1100"/>
              <a:buChar char="○"/>
              <a:defRPr sz="1467"/>
            </a:lvl8pPr>
            <a:lvl9pPr marL="5486263" lvl="8" indent="-397923" rtl="0">
              <a:lnSpc>
                <a:spcPct val="100000"/>
              </a:lnSpc>
              <a:spcBef>
                <a:spcPts val="0"/>
              </a:spcBef>
              <a:spcAft>
                <a:spcPts val="0"/>
              </a:spcAft>
              <a:buSzPts val="1100"/>
              <a:buChar char="■"/>
              <a:defRPr sz="1467"/>
            </a:lvl9pPr>
          </a:lstStyle>
          <a:p>
            <a:endParaRPr/>
          </a:p>
        </p:txBody>
      </p:sp>
      <p:sp>
        <p:nvSpPr>
          <p:cNvPr id="498" name="Google Shape;498;p34"/>
          <p:cNvSpPr txBox="1">
            <a:spLocks noGrp="1"/>
          </p:cNvSpPr>
          <p:nvPr>
            <p:ph type="body" idx="7"/>
          </p:nvPr>
        </p:nvSpPr>
        <p:spPr>
          <a:xfrm>
            <a:off x="1987296" y="3060192"/>
            <a:ext cx="3413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499" name="Google Shape;499;p34"/>
          <p:cNvSpPr txBox="1">
            <a:spLocks noGrp="1"/>
          </p:cNvSpPr>
          <p:nvPr>
            <p:ph type="body" idx="8"/>
          </p:nvPr>
        </p:nvSpPr>
        <p:spPr>
          <a:xfrm>
            <a:off x="1987296" y="4279392"/>
            <a:ext cx="2072800" cy="2928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rtl="0">
              <a:lnSpc>
                <a:spcPct val="100000"/>
              </a:lnSpc>
              <a:spcBef>
                <a:spcPts val="0"/>
              </a:spcBef>
              <a:spcAft>
                <a:spcPts val="0"/>
              </a:spcAft>
              <a:buSzPts val="1100"/>
              <a:buChar char="○"/>
              <a:defRPr sz="1467"/>
            </a:lvl2pPr>
            <a:lvl3pPr marL="1828754" lvl="2" indent="-397923" rtl="0">
              <a:lnSpc>
                <a:spcPct val="100000"/>
              </a:lnSpc>
              <a:spcBef>
                <a:spcPts val="0"/>
              </a:spcBef>
              <a:spcAft>
                <a:spcPts val="0"/>
              </a:spcAft>
              <a:buSzPts val="1100"/>
              <a:buChar char="■"/>
              <a:defRPr sz="1467"/>
            </a:lvl3pPr>
            <a:lvl4pPr marL="2438339" lvl="3" indent="-397923" rtl="0">
              <a:lnSpc>
                <a:spcPct val="100000"/>
              </a:lnSpc>
              <a:spcBef>
                <a:spcPts val="0"/>
              </a:spcBef>
              <a:spcAft>
                <a:spcPts val="0"/>
              </a:spcAft>
              <a:buSzPts val="1100"/>
              <a:buChar char="●"/>
              <a:defRPr sz="1467"/>
            </a:lvl4pPr>
            <a:lvl5pPr marL="3047924" lvl="4" indent="-397923" rtl="0">
              <a:lnSpc>
                <a:spcPct val="100000"/>
              </a:lnSpc>
              <a:spcBef>
                <a:spcPts val="0"/>
              </a:spcBef>
              <a:spcAft>
                <a:spcPts val="0"/>
              </a:spcAft>
              <a:buSzPts val="1100"/>
              <a:buChar char="○"/>
              <a:defRPr sz="1467"/>
            </a:lvl5pPr>
            <a:lvl6pPr marL="3657509" lvl="5" indent="-397923" rtl="0">
              <a:lnSpc>
                <a:spcPct val="100000"/>
              </a:lnSpc>
              <a:spcBef>
                <a:spcPts val="0"/>
              </a:spcBef>
              <a:spcAft>
                <a:spcPts val="0"/>
              </a:spcAft>
              <a:buSzPts val="1100"/>
              <a:buChar char="■"/>
              <a:defRPr sz="1467"/>
            </a:lvl6pPr>
            <a:lvl7pPr marL="4267093" lvl="6" indent="-397923" rtl="0">
              <a:lnSpc>
                <a:spcPct val="100000"/>
              </a:lnSpc>
              <a:spcBef>
                <a:spcPts val="0"/>
              </a:spcBef>
              <a:spcAft>
                <a:spcPts val="0"/>
              </a:spcAft>
              <a:buSzPts val="1100"/>
              <a:buChar char="●"/>
              <a:defRPr sz="1467"/>
            </a:lvl7pPr>
            <a:lvl8pPr marL="4876678" lvl="7" indent="-397923" rtl="0">
              <a:lnSpc>
                <a:spcPct val="100000"/>
              </a:lnSpc>
              <a:spcBef>
                <a:spcPts val="0"/>
              </a:spcBef>
              <a:spcAft>
                <a:spcPts val="0"/>
              </a:spcAft>
              <a:buSzPts val="1100"/>
              <a:buChar char="○"/>
              <a:defRPr sz="1467"/>
            </a:lvl8pPr>
            <a:lvl9pPr marL="5486263" lvl="8" indent="-397923" rtl="0">
              <a:lnSpc>
                <a:spcPct val="100000"/>
              </a:lnSpc>
              <a:spcBef>
                <a:spcPts val="0"/>
              </a:spcBef>
              <a:spcAft>
                <a:spcPts val="0"/>
              </a:spcAft>
              <a:buSzPts val="1100"/>
              <a:buChar char="■"/>
              <a:defRPr sz="1467"/>
            </a:lvl9pPr>
          </a:lstStyle>
          <a:p>
            <a:endParaRPr/>
          </a:p>
        </p:txBody>
      </p:sp>
      <p:sp>
        <p:nvSpPr>
          <p:cNvPr id="500" name="Google Shape;500;p34"/>
          <p:cNvSpPr txBox="1">
            <a:spLocks noGrp="1"/>
          </p:cNvSpPr>
          <p:nvPr>
            <p:ph type="body" idx="9"/>
          </p:nvPr>
        </p:nvSpPr>
        <p:spPr>
          <a:xfrm>
            <a:off x="1987296" y="4620768"/>
            <a:ext cx="3413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29" name="Google Shape;492;p34">
            <a:extLst>
              <a:ext uri="{FF2B5EF4-FFF2-40B4-BE49-F238E27FC236}">
                <a16:creationId xmlns:a16="http://schemas.microsoft.com/office/drawing/2014/main" id="{B2961469-D98A-3946-8147-3909918D86A6}"/>
              </a:ext>
            </a:extLst>
          </p:cNvPr>
          <p:cNvSpPr>
            <a:spLocks noGrp="1"/>
          </p:cNvSpPr>
          <p:nvPr>
            <p:ph type="pic" idx="10"/>
          </p:nvPr>
        </p:nvSpPr>
        <p:spPr>
          <a:xfrm>
            <a:off x="1060704" y="2995560"/>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0" name="Google Shape;492;p34">
            <a:extLst>
              <a:ext uri="{FF2B5EF4-FFF2-40B4-BE49-F238E27FC236}">
                <a16:creationId xmlns:a16="http://schemas.microsoft.com/office/drawing/2014/main" id="{196967CD-4856-9243-9EFE-A327D7763891}"/>
              </a:ext>
            </a:extLst>
          </p:cNvPr>
          <p:cNvSpPr>
            <a:spLocks noGrp="1"/>
          </p:cNvSpPr>
          <p:nvPr>
            <p:ph type="pic" idx="11"/>
          </p:nvPr>
        </p:nvSpPr>
        <p:spPr>
          <a:xfrm>
            <a:off x="1060704" y="4556803"/>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1" name="Google Shape;268;p27">
            <a:extLst>
              <a:ext uri="{FF2B5EF4-FFF2-40B4-BE49-F238E27FC236}">
                <a16:creationId xmlns:a16="http://schemas.microsoft.com/office/drawing/2014/main" id="{5366E105-BBFE-6A48-9C65-CFF9CF06D742}"/>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32" name="Google Shape;67;p15">
            <a:extLst>
              <a:ext uri="{FF2B5EF4-FFF2-40B4-BE49-F238E27FC236}">
                <a16:creationId xmlns:a16="http://schemas.microsoft.com/office/drawing/2014/main" id="{70CFA9DA-9887-894C-9497-56E08226B48E}"/>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3" name="Google Shape;56;p14">
            <a:extLst>
              <a:ext uri="{FF2B5EF4-FFF2-40B4-BE49-F238E27FC236}">
                <a16:creationId xmlns:a16="http://schemas.microsoft.com/office/drawing/2014/main" id="{645940EC-80D9-F94E-ADC7-16998CBD84A3}"/>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296624801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matchingName="Four Features - Right" preserve="1" userDrawn="1">
  <p:cSld name="Four Features - Right">
    <p:spTree>
      <p:nvGrpSpPr>
        <p:cNvPr id="1" name="Shape 501"/>
        <p:cNvGrpSpPr/>
        <p:nvPr/>
      </p:nvGrpSpPr>
      <p:grpSpPr>
        <a:xfrm>
          <a:off x="0" y="0"/>
          <a:ext cx="0" cy="0"/>
          <a:chOff x="0" y="0"/>
          <a:chExt cx="0" cy="0"/>
        </a:xfrm>
      </p:grpSpPr>
      <p:sp>
        <p:nvSpPr>
          <p:cNvPr id="505" name="Google Shape;505;p35"/>
          <p:cNvSpPr/>
          <p:nvPr/>
        </p:nvSpPr>
        <p:spPr>
          <a:xfrm>
            <a:off x="-2658759" y="-532000"/>
            <a:ext cx="8552400" cy="8539200"/>
          </a:xfrm>
          <a:prstGeom prst="ellipse">
            <a:avLst/>
          </a:prstGeom>
          <a:gradFill>
            <a:gsLst>
              <a:gs pos="0">
                <a:srgbClr val="1F9CF0">
                  <a:alpha val="74901"/>
                </a:srgbClr>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06" name="Google Shape;506;p35"/>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07" name="Google Shape;507;p35"/>
          <p:cNvPicPr preferRelativeResize="0"/>
          <p:nvPr/>
        </p:nvPicPr>
        <p:blipFill rotWithShape="1">
          <a:blip r:embed="rId2">
            <a:alphaModFix amt="30000"/>
          </a:blip>
          <a:srcRect/>
          <a:stretch/>
        </p:blipFill>
        <p:spPr>
          <a:xfrm>
            <a:off x="6298306" y="-3905034"/>
            <a:ext cx="5016492" cy="5016492"/>
          </a:xfrm>
          <a:prstGeom prst="rect">
            <a:avLst/>
          </a:prstGeom>
          <a:noFill/>
          <a:ln>
            <a:noFill/>
          </a:ln>
        </p:spPr>
      </p:pic>
      <p:sp>
        <p:nvSpPr>
          <p:cNvPr id="508" name="Google Shape;508;p35"/>
          <p:cNvSpPr/>
          <p:nvPr/>
        </p:nvSpPr>
        <p:spPr>
          <a:xfrm>
            <a:off x="-1076467" y="4452464"/>
            <a:ext cx="1880000" cy="1877200"/>
          </a:xfrm>
          <a:prstGeom prst="ellipse">
            <a:avLst/>
          </a:prstGeom>
          <a:gradFill>
            <a:gsLst>
              <a:gs pos="0">
                <a:srgbClr val="8661C5"/>
              </a:gs>
              <a:gs pos="100000">
                <a:srgbClr val="161828">
                  <a:alpha val="74901"/>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509" name="Google Shape;509;p35"/>
          <p:cNvGrpSpPr/>
          <p:nvPr/>
        </p:nvGrpSpPr>
        <p:grpSpPr>
          <a:xfrm>
            <a:off x="6612317" y="1378239"/>
            <a:ext cx="651009" cy="649605"/>
            <a:chOff x="9522579" y="1481845"/>
            <a:chExt cx="1535400" cy="1534500"/>
          </a:xfrm>
        </p:grpSpPr>
        <p:sp>
          <p:nvSpPr>
            <p:cNvPr id="510" name="Google Shape;510;p35"/>
            <p:cNvSpPr/>
            <p:nvPr/>
          </p:nvSpPr>
          <p:spPr>
            <a:xfrm>
              <a:off x="9522579" y="1481845"/>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1" name="Google Shape;511;p35"/>
            <p:cNvSpPr/>
            <p:nvPr/>
          </p:nvSpPr>
          <p:spPr>
            <a:xfrm>
              <a:off x="9782104" y="1743248"/>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2" name="Google Shape;512;p35"/>
          <p:cNvGrpSpPr/>
          <p:nvPr/>
        </p:nvGrpSpPr>
        <p:grpSpPr>
          <a:xfrm>
            <a:off x="9235146" y="1384102"/>
            <a:ext cx="651009" cy="649605"/>
            <a:chOff x="9522579" y="1481845"/>
            <a:chExt cx="1535400" cy="1534500"/>
          </a:xfrm>
        </p:grpSpPr>
        <p:sp>
          <p:nvSpPr>
            <p:cNvPr id="513" name="Google Shape;513;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4" name="Google Shape;514;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5" name="Google Shape;515;p35"/>
          <p:cNvGrpSpPr/>
          <p:nvPr/>
        </p:nvGrpSpPr>
        <p:grpSpPr>
          <a:xfrm>
            <a:off x="6612317" y="3752891"/>
            <a:ext cx="651009" cy="649605"/>
            <a:chOff x="9522579" y="1481845"/>
            <a:chExt cx="1535400" cy="1534500"/>
          </a:xfrm>
        </p:grpSpPr>
        <p:sp>
          <p:nvSpPr>
            <p:cNvPr id="516" name="Google Shape;516;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7" name="Google Shape;517;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8" name="Google Shape;518;p35"/>
          <p:cNvGrpSpPr/>
          <p:nvPr/>
        </p:nvGrpSpPr>
        <p:grpSpPr>
          <a:xfrm>
            <a:off x="9235146" y="3758755"/>
            <a:ext cx="651009" cy="649605"/>
            <a:chOff x="9522579" y="1481845"/>
            <a:chExt cx="1535400" cy="1534500"/>
          </a:xfrm>
        </p:grpSpPr>
        <p:sp>
          <p:nvSpPr>
            <p:cNvPr id="519" name="Google Shape;519;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20" name="Google Shape;520;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cxnSp>
        <p:nvCxnSpPr>
          <p:cNvPr id="521" name="Google Shape;521;p35"/>
          <p:cNvCxnSpPr/>
          <p:nvPr/>
        </p:nvCxnSpPr>
        <p:spPr>
          <a:xfrm>
            <a:off x="8847511" y="1400361"/>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2" name="Google Shape;522;p35"/>
          <p:cNvCxnSpPr/>
          <p:nvPr/>
        </p:nvCxnSpPr>
        <p:spPr>
          <a:xfrm>
            <a:off x="8847511" y="3791343"/>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3" name="Google Shape;523;p35"/>
          <p:cNvCxnSpPr/>
          <p:nvPr/>
        </p:nvCxnSpPr>
        <p:spPr>
          <a:xfrm>
            <a:off x="6298305" y="1400361"/>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4" name="Google Shape;524;p35"/>
          <p:cNvCxnSpPr/>
          <p:nvPr/>
        </p:nvCxnSpPr>
        <p:spPr>
          <a:xfrm>
            <a:off x="6298305" y="3791343"/>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sp>
        <p:nvSpPr>
          <p:cNvPr id="525" name="Google Shape;525;p35"/>
          <p:cNvSpPr/>
          <p:nvPr/>
        </p:nvSpPr>
        <p:spPr>
          <a:xfrm rot="10800000">
            <a:off x="543900" y="700"/>
            <a:ext cx="97600" cy="2897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526" name="Google Shape;526;p35"/>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27" name="Google Shape;527;p35"/>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7"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28" name="Google Shape;528;p35"/>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29" name="Google Shape;529;p35"/>
          <p:cNvSpPr>
            <a:spLocks noGrp="1"/>
          </p:cNvSpPr>
          <p:nvPr>
            <p:ph type="pic" idx="3"/>
          </p:nvPr>
        </p:nvSpPr>
        <p:spPr>
          <a:xfrm>
            <a:off x="6790944" y="1560576"/>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533" name="Google Shape;533;p35"/>
          <p:cNvSpPr txBox="1">
            <a:spLocks noGrp="1"/>
          </p:cNvSpPr>
          <p:nvPr>
            <p:ph type="body" idx="7"/>
          </p:nvPr>
        </p:nvSpPr>
        <p:spPr>
          <a:xfrm>
            <a:off x="6608064"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4" name="Google Shape;534;p35"/>
          <p:cNvSpPr txBox="1">
            <a:spLocks noGrp="1"/>
          </p:cNvSpPr>
          <p:nvPr>
            <p:ph type="body" idx="8"/>
          </p:nvPr>
        </p:nvSpPr>
        <p:spPr>
          <a:xfrm>
            <a:off x="6608064" y="2194560"/>
            <a:ext cx="1536000" cy="201119"/>
          </a:xfrm>
          <a:prstGeom prst="rect">
            <a:avLst/>
          </a:prstGeom>
        </p:spPr>
        <p:txBody>
          <a:bodyPr spcFirstLastPara="1" wrap="square" lIns="45700" tIns="18275" rIns="45700" bIns="18275" anchor="t" anchorCtr="0">
            <a:sp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5" name="Google Shape;535;p35"/>
          <p:cNvSpPr txBox="1">
            <a:spLocks noGrp="1"/>
          </p:cNvSpPr>
          <p:nvPr>
            <p:ph type="body" idx="9"/>
          </p:nvPr>
        </p:nvSpPr>
        <p:spPr>
          <a:xfrm>
            <a:off x="9192768"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6" name="Google Shape;536;p35"/>
          <p:cNvSpPr txBox="1">
            <a:spLocks noGrp="1"/>
          </p:cNvSpPr>
          <p:nvPr>
            <p:ph type="body" idx="13"/>
          </p:nvPr>
        </p:nvSpPr>
        <p:spPr>
          <a:xfrm>
            <a:off x="6608064"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7" name="Google Shape;537;p35"/>
          <p:cNvSpPr txBox="1">
            <a:spLocks noGrp="1"/>
          </p:cNvSpPr>
          <p:nvPr>
            <p:ph type="body" idx="14"/>
          </p:nvPr>
        </p:nvSpPr>
        <p:spPr>
          <a:xfrm>
            <a:off x="9192768"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8" name="Google Shape;538;p35"/>
          <p:cNvSpPr txBox="1">
            <a:spLocks noGrp="1"/>
          </p:cNvSpPr>
          <p:nvPr>
            <p:ph type="body" idx="15"/>
          </p:nvPr>
        </p:nvSpPr>
        <p:spPr>
          <a:xfrm>
            <a:off x="9192768" y="2194560"/>
            <a:ext cx="15360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a:lnSpc>
                <a:spcPct val="100000"/>
              </a:lnSpc>
              <a:spcBef>
                <a:spcPts val="0"/>
              </a:spcBef>
              <a:spcAft>
                <a:spcPts val="0"/>
              </a:spcAft>
              <a:buSzPts val="800"/>
              <a:buChar char="○"/>
              <a:defRPr sz="1067"/>
            </a:lvl2pPr>
            <a:lvl3pPr marL="1828754" lvl="2" indent="-372524">
              <a:lnSpc>
                <a:spcPct val="100000"/>
              </a:lnSpc>
              <a:spcBef>
                <a:spcPts val="0"/>
              </a:spcBef>
              <a:spcAft>
                <a:spcPts val="0"/>
              </a:spcAft>
              <a:buSzPts val="800"/>
              <a:buChar char="■"/>
              <a:defRPr sz="1067"/>
            </a:lvl3pPr>
            <a:lvl4pPr marL="2438339" lvl="3" indent="-372524">
              <a:lnSpc>
                <a:spcPct val="100000"/>
              </a:lnSpc>
              <a:spcBef>
                <a:spcPts val="0"/>
              </a:spcBef>
              <a:spcAft>
                <a:spcPts val="0"/>
              </a:spcAft>
              <a:buSzPts val="800"/>
              <a:buChar char="●"/>
              <a:defRPr sz="1067"/>
            </a:lvl4pPr>
            <a:lvl5pPr marL="3047924" lvl="4" indent="-372524">
              <a:lnSpc>
                <a:spcPct val="100000"/>
              </a:lnSpc>
              <a:spcBef>
                <a:spcPts val="0"/>
              </a:spcBef>
              <a:spcAft>
                <a:spcPts val="0"/>
              </a:spcAft>
              <a:buSzPts val="800"/>
              <a:buChar char="○"/>
              <a:defRPr sz="1067"/>
            </a:lvl5pPr>
            <a:lvl6pPr marL="3657509" lvl="5" indent="-372524">
              <a:lnSpc>
                <a:spcPct val="100000"/>
              </a:lnSpc>
              <a:spcBef>
                <a:spcPts val="0"/>
              </a:spcBef>
              <a:spcAft>
                <a:spcPts val="0"/>
              </a:spcAft>
              <a:buSzPts val="800"/>
              <a:buChar char="■"/>
              <a:defRPr sz="1067"/>
            </a:lvl6pPr>
            <a:lvl7pPr marL="4267093" lvl="6" indent="-372524">
              <a:lnSpc>
                <a:spcPct val="100000"/>
              </a:lnSpc>
              <a:spcBef>
                <a:spcPts val="0"/>
              </a:spcBef>
              <a:spcAft>
                <a:spcPts val="0"/>
              </a:spcAft>
              <a:buSzPts val="800"/>
              <a:buChar char="●"/>
              <a:defRPr sz="1067"/>
            </a:lvl7pPr>
            <a:lvl8pPr marL="4876678" lvl="7" indent="-372524">
              <a:lnSpc>
                <a:spcPct val="100000"/>
              </a:lnSpc>
              <a:spcBef>
                <a:spcPts val="0"/>
              </a:spcBef>
              <a:spcAft>
                <a:spcPts val="0"/>
              </a:spcAft>
              <a:buSzPts val="800"/>
              <a:buChar char="○"/>
              <a:defRPr sz="1067"/>
            </a:lvl8pPr>
            <a:lvl9pPr marL="5486263" lvl="8" indent="-372524">
              <a:lnSpc>
                <a:spcPct val="100000"/>
              </a:lnSpc>
              <a:spcBef>
                <a:spcPts val="0"/>
              </a:spcBef>
              <a:spcAft>
                <a:spcPts val="0"/>
              </a:spcAft>
              <a:buSzPts val="800"/>
              <a:buChar char="■"/>
              <a:defRPr sz="1067"/>
            </a:lvl9pPr>
          </a:lstStyle>
          <a:p>
            <a:endParaRPr/>
          </a:p>
        </p:txBody>
      </p:sp>
      <p:sp>
        <p:nvSpPr>
          <p:cNvPr id="539" name="Google Shape;539;p35"/>
          <p:cNvSpPr txBox="1">
            <a:spLocks noGrp="1"/>
          </p:cNvSpPr>
          <p:nvPr>
            <p:ph type="body" idx="16"/>
          </p:nvPr>
        </p:nvSpPr>
        <p:spPr>
          <a:xfrm>
            <a:off x="6583680"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40" name="Google Shape;540;p35"/>
          <p:cNvSpPr txBox="1">
            <a:spLocks noGrp="1"/>
          </p:cNvSpPr>
          <p:nvPr>
            <p:ph type="body" idx="17"/>
          </p:nvPr>
        </p:nvSpPr>
        <p:spPr>
          <a:xfrm>
            <a:off x="9156192"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41" name="Google Shape;529;p35">
            <a:extLst>
              <a:ext uri="{FF2B5EF4-FFF2-40B4-BE49-F238E27FC236}">
                <a16:creationId xmlns:a16="http://schemas.microsoft.com/office/drawing/2014/main" id="{085155D3-6D50-BC48-B24E-D152D538DC6F}"/>
              </a:ext>
            </a:extLst>
          </p:cNvPr>
          <p:cNvSpPr>
            <a:spLocks noGrp="1"/>
          </p:cNvSpPr>
          <p:nvPr>
            <p:ph type="pic" idx="18"/>
          </p:nvPr>
        </p:nvSpPr>
        <p:spPr>
          <a:xfrm>
            <a:off x="9408249" y="1556504"/>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2" name="Google Shape;529;p35">
            <a:extLst>
              <a:ext uri="{FF2B5EF4-FFF2-40B4-BE49-F238E27FC236}">
                <a16:creationId xmlns:a16="http://schemas.microsoft.com/office/drawing/2014/main" id="{0F57517A-1D54-1C4D-8A53-3CCD9BDD841B}"/>
              </a:ext>
            </a:extLst>
          </p:cNvPr>
          <p:cNvSpPr>
            <a:spLocks noGrp="1"/>
          </p:cNvSpPr>
          <p:nvPr>
            <p:ph type="pic" idx="19"/>
          </p:nvPr>
        </p:nvSpPr>
        <p:spPr>
          <a:xfrm>
            <a:off x="9408249" y="3931157"/>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3" name="Google Shape;529;p35">
            <a:extLst>
              <a:ext uri="{FF2B5EF4-FFF2-40B4-BE49-F238E27FC236}">
                <a16:creationId xmlns:a16="http://schemas.microsoft.com/office/drawing/2014/main" id="{9F272546-E8C9-8C49-925B-DA02BC04B96C}"/>
              </a:ext>
            </a:extLst>
          </p:cNvPr>
          <p:cNvSpPr>
            <a:spLocks noGrp="1"/>
          </p:cNvSpPr>
          <p:nvPr>
            <p:ph type="pic" idx="20"/>
          </p:nvPr>
        </p:nvSpPr>
        <p:spPr>
          <a:xfrm>
            <a:off x="6785420" y="3925293"/>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4" name="Google Shape;268;p27">
            <a:extLst>
              <a:ext uri="{FF2B5EF4-FFF2-40B4-BE49-F238E27FC236}">
                <a16:creationId xmlns:a16="http://schemas.microsoft.com/office/drawing/2014/main" id="{2A6E29A0-D670-464E-AA55-EA5B586AC6CB}"/>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45" name="Google Shape;67;p15">
            <a:extLst>
              <a:ext uri="{FF2B5EF4-FFF2-40B4-BE49-F238E27FC236}">
                <a16:creationId xmlns:a16="http://schemas.microsoft.com/office/drawing/2014/main" id="{DB2924D4-10FD-B348-BB9C-408508AD0696}"/>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46" name="Google Shape;56;p14">
            <a:extLst>
              <a:ext uri="{FF2B5EF4-FFF2-40B4-BE49-F238E27FC236}">
                <a16:creationId xmlns:a16="http://schemas.microsoft.com/office/drawing/2014/main" id="{4B24C25B-26C7-8741-9631-A0B4753F4E2A}"/>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6845806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Monitor Graphic" preserve="1">
  <p:cSld name="Monitor Graphic">
    <p:spTree>
      <p:nvGrpSpPr>
        <p:cNvPr id="1" name="Shape 541"/>
        <p:cNvGrpSpPr/>
        <p:nvPr/>
      </p:nvGrpSpPr>
      <p:grpSpPr>
        <a:xfrm>
          <a:off x="0" y="0"/>
          <a:ext cx="0" cy="0"/>
          <a:chOff x="0" y="0"/>
          <a:chExt cx="0" cy="0"/>
        </a:xfrm>
      </p:grpSpPr>
      <p:sp>
        <p:nvSpPr>
          <p:cNvPr id="545" name="Google Shape;545;p36"/>
          <p:cNvSpPr/>
          <p:nvPr/>
        </p:nvSpPr>
        <p:spPr>
          <a:xfrm>
            <a:off x="-2658759" y="-532000"/>
            <a:ext cx="8552400" cy="8539200"/>
          </a:xfrm>
          <a:prstGeom prst="ellipse">
            <a:avLst/>
          </a:prstGeom>
          <a:gradFill>
            <a:gsLst>
              <a:gs pos="0">
                <a:schemeClr val="accent3"/>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46" name="Google Shape;546;p36"/>
          <p:cNvCxnSpPr/>
          <p:nvPr/>
        </p:nvCxnSpPr>
        <p:spPr>
          <a:xfrm>
            <a:off x="7439079" y="1194737"/>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47" name="Google Shape;547;p36"/>
          <p:cNvPicPr preferRelativeResize="0"/>
          <p:nvPr/>
        </p:nvPicPr>
        <p:blipFill rotWithShape="1">
          <a:blip r:embed="rId2">
            <a:alphaModFix amt="30000"/>
          </a:blip>
          <a:srcRect/>
          <a:stretch/>
        </p:blipFill>
        <p:spPr>
          <a:xfrm>
            <a:off x="-4192615" y="773646"/>
            <a:ext cx="5016492" cy="5016492"/>
          </a:xfrm>
          <a:prstGeom prst="rect">
            <a:avLst/>
          </a:prstGeom>
          <a:noFill/>
          <a:ln>
            <a:noFill/>
          </a:ln>
        </p:spPr>
      </p:pic>
      <p:pic>
        <p:nvPicPr>
          <p:cNvPr id="548" name="Google Shape;548;p36"/>
          <p:cNvPicPr preferRelativeResize="0"/>
          <p:nvPr/>
        </p:nvPicPr>
        <p:blipFill rotWithShape="1">
          <a:blip r:embed="rId2">
            <a:alphaModFix amt="30000"/>
          </a:blip>
          <a:srcRect/>
          <a:stretch/>
        </p:blipFill>
        <p:spPr>
          <a:xfrm>
            <a:off x="11424826" y="773646"/>
            <a:ext cx="5016492" cy="5016492"/>
          </a:xfrm>
          <a:prstGeom prst="rect">
            <a:avLst/>
          </a:prstGeom>
          <a:noFill/>
          <a:ln>
            <a:noFill/>
          </a:ln>
        </p:spPr>
      </p:pic>
      <p:sp>
        <p:nvSpPr>
          <p:cNvPr id="549" name="Google Shape;549;p36"/>
          <p:cNvSpPr txBox="1">
            <a:spLocks noGrp="1"/>
          </p:cNvSpPr>
          <p:nvPr>
            <p:ph type="subTitle" idx="1"/>
          </p:nvPr>
        </p:nvSpPr>
        <p:spPr>
          <a:xfrm>
            <a:off x="7388352" y="938784"/>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50" name="Google Shape;550;p36"/>
          <p:cNvSpPr txBox="1">
            <a:spLocks noGrp="1"/>
          </p:cNvSpPr>
          <p:nvPr>
            <p:ph type="title"/>
          </p:nvPr>
        </p:nvSpPr>
        <p:spPr>
          <a:xfrm>
            <a:off x="7388352" y="1584960"/>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7"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51" name="Google Shape;551;p36"/>
          <p:cNvSpPr txBox="1">
            <a:spLocks noGrp="1"/>
          </p:cNvSpPr>
          <p:nvPr>
            <p:ph type="body" idx="2"/>
          </p:nvPr>
        </p:nvSpPr>
        <p:spPr>
          <a:xfrm>
            <a:off x="7388352" y="3389376"/>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2" name="Google Shape;268;p27">
            <a:extLst>
              <a:ext uri="{FF2B5EF4-FFF2-40B4-BE49-F238E27FC236}">
                <a16:creationId xmlns:a16="http://schemas.microsoft.com/office/drawing/2014/main" id="{268F1A49-11B7-8F40-B03E-43CCD03FF414}"/>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3" name="Google Shape;67;p15">
            <a:extLst>
              <a:ext uri="{FF2B5EF4-FFF2-40B4-BE49-F238E27FC236}">
                <a16:creationId xmlns:a16="http://schemas.microsoft.com/office/drawing/2014/main" id="{5ECC4230-B1D7-1545-A24E-C3E5EC1F8A3C}"/>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4" name="Google Shape;56;p14">
            <a:extLst>
              <a:ext uri="{FF2B5EF4-FFF2-40B4-BE49-F238E27FC236}">
                <a16:creationId xmlns:a16="http://schemas.microsoft.com/office/drawing/2014/main" id="{F760CE51-D62A-224A-AA46-37F49A02E050}"/>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1283595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matchingName="Left-side Copy" preserve="1">
  <p:cSld name="Left-side Copy">
    <p:spTree>
      <p:nvGrpSpPr>
        <p:cNvPr id="1" name="Shape 552"/>
        <p:cNvGrpSpPr/>
        <p:nvPr/>
      </p:nvGrpSpPr>
      <p:grpSpPr>
        <a:xfrm>
          <a:off x="0" y="0"/>
          <a:ext cx="0" cy="0"/>
          <a:chOff x="0" y="0"/>
          <a:chExt cx="0" cy="0"/>
        </a:xfrm>
      </p:grpSpPr>
      <p:sp>
        <p:nvSpPr>
          <p:cNvPr id="556" name="Google Shape;556;p37"/>
          <p:cNvSpPr/>
          <p:nvPr/>
        </p:nvSpPr>
        <p:spPr>
          <a:xfrm>
            <a:off x="8095955" y="1860436"/>
            <a:ext cx="1818000" cy="1345200"/>
          </a:xfrm>
          <a:prstGeom prst="roundRect">
            <a:avLst>
              <a:gd name="adj" fmla="val 6753"/>
            </a:avLst>
          </a:prstGeom>
          <a:gradFill>
            <a:gsLst>
              <a:gs pos="0">
                <a:srgbClr val="1F9CF0"/>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57" name="Google Shape;557;p37"/>
          <p:cNvSpPr/>
          <p:nvPr/>
        </p:nvSpPr>
        <p:spPr>
          <a:xfrm>
            <a:off x="6515736" y="3938993"/>
            <a:ext cx="1328800" cy="983200"/>
          </a:xfrm>
          <a:prstGeom prst="roundRect">
            <a:avLst>
              <a:gd name="adj" fmla="val 6753"/>
            </a:avLst>
          </a:prstGeom>
          <a:gradFill>
            <a:gsLst>
              <a:gs pos="0">
                <a:schemeClr val="accent2"/>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58" name="Google Shape;558;p37"/>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59" name="Google Shape;559;p37"/>
          <p:cNvPicPr preferRelativeResize="0"/>
          <p:nvPr/>
        </p:nvPicPr>
        <p:blipFill rotWithShape="1">
          <a:blip r:embed="rId2">
            <a:alphaModFix amt="30000"/>
          </a:blip>
          <a:srcRect/>
          <a:stretch/>
        </p:blipFill>
        <p:spPr>
          <a:xfrm>
            <a:off x="-4192615" y="773646"/>
            <a:ext cx="5016492" cy="5016492"/>
          </a:xfrm>
          <a:prstGeom prst="rect">
            <a:avLst/>
          </a:prstGeom>
          <a:noFill/>
          <a:ln>
            <a:noFill/>
          </a:ln>
        </p:spPr>
      </p:pic>
      <p:pic>
        <p:nvPicPr>
          <p:cNvPr id="560" name="Google Shape;560;p37"/>
          <p:cNvPicPr preferRelativeResize="0"/>
          <p:nvPr/>
        </p:nvPicPr>
        <p:blipFill rotWithShape="1">
          <a:blip r:embed="rId2">
            <a:alphaModFix amt="30000"/>
          </a:blip>
          <a:srcRect/>
          <a:stretch/>
        </p:blipFill>
        <p:spPr>
          <a:xfrm>
            <a:off x="9068357" y="773646"/>
            <a:ext cx="5016492" cy="5016492"/>
          </a:xfrm>
          <a:prstGeom prst="rect">
            <a:avLst/>
          </a:prstGeom>
          <a:noFill/>
          <a:ln>
            <a:noFill/>
          </a:ln>
        </p:spPr>
      </p:pic>
      <p:sp>
        <p:nvSpPr>
          <p:cNvPr id="561" name="Google Shape;561;p37"/>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lnSpc>
                <a:spcPct val="100000"/>
              </a:lnSpc>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562" name="Google Shape;562;p37"/>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 name="Google Shape;563;p37"/>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3" name="Google Shape;268;p27">
            <a:extLst>
              <a:ext uri="{FF2B5EF4-FFF2-40B4-BE49-F238E27FC236}">
                <a16:creationId xmlns:a16="http://schemas.microsoft.com/office/drawing/2014/main" id="{4E669A2D-7E59-9049-9F3F-0BD200EFF36C}"/>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4" name="Google Shape;67;p15">
            <a:extLst>
              <a:ext uri="{FF2B5EF4-FFF2-40B4-BE49-F238E27FC236}">
                <a16:creationId xmlns:a16="http://schemas.microsoft.com/office/drawing/2014/main" id="{B560FB97-8D77-9349-A3B4-AF64D75E5332}"/>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5" name="Google Shape;56;p14">
            <a:extLst>
              <a:ext uri="{FF2B5EF4-FFF2-40B4-BE49-F238E27FC236}">
                <a16:creationId xmlns:a16="http://schemas.microsoft.com/office/drawing/2014/main" id="{C712E68A-58EE-284C-8932-960C77BBA975}"/>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39407273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matchingName="Right-Side Copy" preserve="1">
  <p:cSld name="Right-Side Copy">
    <p:spTree>
      <p:nvGrpSpPr>
        <p:cNvPr id="1" name="Shape 594"/>
        <p:cNvGrpSpPr/>
        <p:nvPr/>
      </p:nvGrpSpPr>
      <p:grpSpPr>
        <a:xfrm>
          <a:off x="0" y="0"/>
          <a:ext cx="0" cy="0"/>
          <a:chOff x="0" y="0"/>
          <a:chExt cx="0" cy="0"/>
        </a:xfrm>
      </p:grpSpPr>
      <p:pic>
        <p:nvPicPr>
          <p:cNvPr id="598" name="Google Shape;598;p39"/>
          <p:cNvPicPr preferRelativeResize="0"/>
          <p:nvPr/>
        </p:nvPicPr>
        <p:blipFill>
          <a:blip r:embed="rId2">
            <a:alphaModFix/>
          </a:blip>
          <a:stretch>
            <a:fillRect/>
          </a:stretch>
        </p:blipFill>
        <p:spPr>
          <a:xfrm>
            <a:off x="-6206734" y="-1465367"/>
            <a:ext cx="9788731" cy="9788731"/>
          </a:xfrm>
          <a:prstGeom prst="rect">
            <a:avLst/>
          </a:prstGeom>
          <a:noFill/>
          <a:ln>
            <a:noFill/>
          </a:ln>
        </p:spPr>
      </p:pic>
      <p:sp>
        <p:nvSpPr>
          <p:cNvPr id="12" name="Google Shape;268;p27">
            <a:extLst>
              <a:ext uri="{FF2B5EF4-FFF2-40B4-BE49-F238E27FC236}">
                <a16:creationId xmlns:a16="http://schemas.microsoft.com/office/drawing/2014/main" id="{3C755F27-DA08-304E-BFC4-543F651D9379}"/>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3" name="Google Shape;67;p15">
            <a:extLst>
              <a:ext uri="{FF2B5EF4-FFF2-40B4-BE49-F238E27FC236}">
                <a16:creationId xmlns:a16="http://schemas.microsoft.com/office/drawing/2014/main" id="{F9E1473B-9611-444E-B16A-C1BD19C6ECA1}"/>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pic>
        <p:nvPicPr>
          <p:cNvPr id="599" name="Google Shape;599;p39"/>
          <p:cNvPicPr preferRelativeResize="0"/>
          <p:nvPr/>
        </p:nvPicPr>
        <p:blipFill rotWithShape="1">
          <a:blip r:embed="rId3">
            <a:alphaModFix amt="30000"/>
          </a:blip>
          <a:srcRect/>
          <a:stretch/>
        </p:blipFill>
        <p:spPr>
          <a:xfrm>
            <a:off x="-160795" y="920754"/>
            <a:ext cx="5016492" cy="5016492"/>
          </a:xfrm>
          <a:prstGeom prst="rect">
            <a:avLst/>
          </a:prstGeom>
          <a:noFill/>
          <a:ln>
            <a:noFill/>
          </a:ln>
        </p:spPr>
      </p:pic>
      <p:pic>
        <p:nvPicPr>
          <p:cNvPr id="600" name="Google Shape;600;p39"/>
          <p:cNvPicPr preferRelativeResize="0"/>
          <p:nvPr/>
        </p:nvPicPr>
        <p:blipFill>
          <a:blip r:embed="rId4">
            <a:alphaModFix/>
          </a:blip>
          <a:stretch>
            <a:fillRect/>
          </a:stretch>
        </p:blipFill>
        <p:spPr>
          <a:xfrm>
            <a:off x="2612367" y="418534"/>
            <a:ext cx="2463633" cy="2463633"/>
          </a:xfrm>
          <a:prstGeom prst="rect">
            <a:avLst/>
          </a:prstGeom>
          <a:noFill/>
          <a:ln>
            <a:noFill/>
          </a:ln>
        </p:spPr>
      </p:pic>
      <p:cxnSp>
        <p:nvCxnSpPr>
          <p:cNvPr id="601" name="Google Shape;601;p39"/>
          <p:cNvCxnSpPr/>
          <p:nvPr/>
        </p:nvCxnSpPr>
        <p:spPr>
          <a:xfrm>
            <a:off x="5917645" y="1244391"/>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602" name="Google Shape;602;p39"/>
          <p:cNvSpPr txBox="1">
            <a:spLocks noGrp="1"/>
          </p:cNvSpPr>
          <p:nvPr>
            <p:ph type="subTitle" idx="1"/>
          </p:nvPr>
        </p:nvSpPr>
        <p:spPr>
          <a:xfrm>
            <a:off x="5876544" y="999744"/>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603" name="Google Shape;603;p39"/>
          <p:cNvSpPr txBox="1">
            <a:spLocks noGrp="1"/>
          </p:cNvSpPr>
          <p:nvPr>
            <p:ph type="title"/>
          </p:nvPr>
        </p:nvSpPr>
        <p:spPr>
          <a:xfrm>
            <a:off x="5852160" y="154838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39"/>
          <p:cNvSpPr txBox="1">
            <a:spLocks noGrp="1"/>
          </p:cNvSpPr>
          <p:nvPr>
            <p:ph type="body" idx="2"/>
          </p:nvPr>
        </p:nvSpPr>
        <p:spPr>
          <a:xfrm>
            <a:off x="5852160" y="3048000"/>
            <a:ext cx="4035600" cy="2536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4" name="Google Shape;56;p14">
            <a:extLst>
              <a:ext uri="{FF2B5EF4-FFF2-40B4-BE49-F238E27FC236}">
                <a16:creationId xmlns:a16="http://schemas.microsoft.com/office/drawing/2014/main" id="{F707527A-2278-AD4B-BFC1-AC37DFB1F555}"/>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0767119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4208A27C-250D-5645-8D7F-C2C259BD6246}"/>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MICROSOFT DEV BOX</a:t>
            </a:r>
            <a:endParaRPr kumimoji="0" lang="en-US" sz="6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D4F9CC37-649C-A24D-8487-AF6F4FDCA213}" type="slidenum">
              <a:rPr kumimoji="0" lang="en-US" sz="625" b="0" i="0" u="none" strike="noStrike" kern="1200" cap="none" spc="375" normalizeH="0" baseline="0" noProof="0" smtClean="0">
                <a:ln>
                  <a:noFill/>
                </a:ln>
                <a:solidFill>
                  <a:srgbClr val="FFFFFF"/>
                </a:solidFill>
                <a:effectLst/>
                <a:uLnTx/>
                <a:uFillTx/>
                <a:latin typeface="Helvetica" pitchFamily="2" charset="0"/>
                <a:ea typeface="+mn-ea"/>
                <a:cs typeface="Segoe UI Light" panose="020B0502040204020203" pitchFamily="34" charset="0"/>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lang="en-US" sz="625" b="0" i="0" u="none" strike="noStrike" kern="1200" cap="none" spc="375" normalizeH="0" baseline="0" noProof="0">
              <a:ln>
                <a:noFill/>
              </a:ln>
              <a:solidFill>
                <a:srgbClr val="FFFFFF"/>
              </a:solidFill>
              <a:effectLst/>
              <a:uLnTx/>
              <a:uFillTx/>
              <a:latin typeface="Helvetica" pitchFamily="2" charset="0"/>
              <a:ea typeface="+mn-ea"/>
              <a:cs typeface="Segoe UI Light" panose="020B0502040204020203" pitchFamily="34" charset="0"/>
            </a:endParaRPr>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spTree>
    <p:extLst>
      <p:ext uri="{BB962C8B-B14F-4D97-AF65-F5344CB8AC3E}">
        <p14:creationId xmlns:p14="http://schemas.microsoft.com/office/powerpoint/2010/main" val="4599055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3_FOOTER">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208A27C-250D-5645-8D7F-C2C259BD6246}"/>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1"/>
            <a:ext cx="4794455" cy="197170"/>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D4F9CC37-649C-A24D-8487-AF6F4FDCA213}" type="slidenum">
              <a:rPr kumimoji="0" lang="en-US" sz="625" b="0" i="0" u="none" strike="noStrike" kern="1200" cap="none" spc="375" normalizeH="0" baseline="0" noProof="0" smtClean="0">
                <a:ln>
                  <a:noFill/>
                </a:ln>
                <a:solidFill>
                  <a:srgbClr val="FFFFFF"/>
                </a:solidFill>
                <a:effectLst/>
                <a:uLnTx/>
                <a:uFillTx/>
                <a:latin typeface="Helvetica" pitchFamily="2" charset="0"/>
                <a:ea typeface="+mn-ea"/>
                <a:cs typeface="Segoe UI Light" panose="020B0502040204020203" pitchFamily="34" charset="0"/>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lang="en-US" sz="625" b="0" i="0" u="none" strike="noStrike" kern="1200" cap="none" spc="375" normalizeH="0" baseline="0" noProof="0">
              <a:ln>
                <a:noFill/>
              </a:ln>
              <a:solidFill>
                <a:srgbClr val="FFFFFF"/>
              </a:solidFill>
              <a:effectLst/>
              <a:uLnTx/>
              <a:uFillTx/>
              <a:latin typeface="Helvetica" pitchFamily="2" charset="0"/>
              <a:ea typeface="+mn-ea"/>
              <a:cs typeface="Segoe UI Light" panose="020B0502040204020203" pitchFamily="34" charset="0"/>
            </a:endParaRPr>
          </a:p>
        </p:txBody>
      </p:sp>
      <p:sp>
        <p:nvSpPr>
          <p:cNvPr id="6" name="Rectangle 5">
            <a:extLst>
              <a:ext uri="{FF2B5EF4-FFF2-40B4-BE49-F238E27FC236}">
                <a16:creationId xmlns:a16="http://schemas.microsoft.com/office/drawing/2014/main" id="{4B47B5B9-B01C-4E56-B86A-C3920C23A6EB}"/>
              </a:ext>
            </a:extLst>
          </p:cNvPr>
          <p:cNvSpPr/>
          <p:nvPr userDrawn="1"/>
        </p:nvSpPr>
        <p:spPr>
          <a:xfrm>
            <a:off x="789258" y="6534431"/>
            <a:ext cx="4794455" cy="19717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25"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RESILIENT APP DEVELOPMENT</a:t>
            </a:r>
            <a:endParaRPr kumimoji="0" lang="en-US" sz="625"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23394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63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matchingName="Four Features - Bottom" preserve="1" userDrawn="1">
  <p:cSld name="Four Features - Bottom">
    <p:spTree>
      <p:nvGrpSpPr>
        <p:cNvPr id="1" name="Shape 564"/>
        <p:cNvGrpSpPr/>
        <p:nvPr/>
      </p:nvGrpSpPr>
      <p:grpSpPr>
        <a:xfrm>
          <a:off x="0" y="0"/>
          <a:ext cx="0" cy="0"/>
          <a:chOff x="0" y="0"/>
          <a:chExt cx="0" cy="0"/>
        </a:xfrm>
      </p:grpSpPr>
      <p:sp>
        <p:nvSpPr>
          <p:cNvPr id="37" name="Rectangle 36">
            <a:extLst>
              <a:ext uri="{FF2B5EF4-FFF2-40B4-BE49-F238E27FC236}">
                <a16:creationId xmlns:a16="http://schemas.microsoft.com/office/drawing/2014/main" id="{9D209D85-877F-4E76-B0C9-881DB269B6FB}"/>
              </a:ext>
            </a:extLst>
          </p:cNvPr>
          <p:cNvSpPr/>
          <p:nvPr userDrawn="1"/>
        </p:nvSpPr>
        <p:spPr bwMode="auto">
          <a:xfrm>
            <a:off x="1" y="487"/>
            <a:ext cx="7200789" cy="6857027"/>
          </a:xfrm>
          <a:prstGeom prst="rect">
            <a:avLst/>
          </a:prstGeom>
          <a:gradFill>
            <a:gsLst>
              <a:gs pos="0">
                <a:srgbClr val="1A1B20"/>
              </a:gs>
              <a:gs pos="99000">
                <a:srgbClr val="1A1B2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Google Shape;576;p38"/>
          <p:cNvPicPr preferRelativeResize="0"/>
          <p:nvPr/>
        </p:nvPicPr>
        <p:blipFill rotWithShape="1">
          <a:blip r:embed="rId2">
            <a:alphaModFix amt="30000"/>
          </a:blip>
          <a:srcRect/>
          <a:stretch/>
        </p:blipFill>
        <p:spPr>
          <a:xfrm>
            <a:off x="11153603" y="773646"/>
            <a:ext cx="5016492" cy="5016492"/>
          </a:xfrm>
          <a:prstGeom prst="rect">
            <a:avLst/>
          </a:prstGeom>
          <a:noFill/>
          <a:ln>
            <a:noFill/>
          </a:ln>
        </p:spPr>
      </p:pic>
      <p:cxnSp>
        <p:nvCxnSpPr>
          <p:cNvPr id="577" name="Google Shape;577;p38"/>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78" name="Google Shape;578;p38"/>
          <p:cNvPicPr preferRelativeResize="0"/>
          <p:nvPr/>
        </p:nvPicPr>
        <p:blipFill rotWithShape="1">
          <a:blip r:embed="rId2">
            <a:alphaModFix amt="30000"/>
          </a:blip>
          <a:srcRect/>
          <a:stretch/>
        </p:blipFill>
        <p:spPr>
          <a:xfrm>
            <a:off x="-4225469" y="-2535898"/>
            <a:ext cx="5016492" cy="5016492"/>
          </a:xfrm>
          <a:prstGeom prst="rect">
            <a:avLst/>
          </a:prstGeom>
          <a:noFill/>
          <a:ln>
            <a:noFill/>
          </a:ln>
        </p:spPr>
      </p:pic>
      <p:sp>
        <p:nvSpPr>
          <p:cNvPr id="579" name="Google Shape;579;p3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80" name="Google Shape;580;p38"/>
          <p:cNvSpPr txBox="1">
            <a:spLocks noGrp="1"/>
          </p:cNvSpPr>
          <p:nvPr>
            <p:ph type="title"/>
          </p:nvPr>
        </p:nvSpPr>
        <p:spPr>
          <a:xfrm>
            <a:off x="1072896" y="1377696"/>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38"/>
          <p:cNvSpPr txBox="1">
            <a:spLocks noGrp="1"/>
          </p:cNvSpPr>
          <p:nvPr>
            <p:ph type="body" idx="2"/>
          </p:nvPr>
        </p:nvSpPr>
        <p:spPr>
          <a:xfrm>
            <a:off x="5254752" y="1487424"/>
            <a:ext cx="4047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582" name="Google Shape;582;p38"/>
          <p:cNvSpPr txBox="1">
            <a:spLocks noGrp="1"/>
          </p:cNvSpPr>
          <p:nvPr>
            <p:ph type="body" idx="3"/>
          </p:nvPr>
        </p:nvSpPr>
        <p:spPr>
          <a:xfrm>
            <a:off x="1170432"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3" name="Google Shape;583;p38"/>
          <p:cNvSpPr txBox="1">
            <a:spLocks noGrp="1"/>
          </p:cNvSpPr>
          <p:nvPr>
            <p:ph type="body" idx="4"/>
          </p:nvPr>
        </p:nvSpPr>
        <p:spPr>
          <a:xfrm>
            <a:off x="3742944"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4" name="Google Shape;584;p38"/>
          <p:cNvSpPr txBox="1">
            <a:spLocks noGrp="1"/>
          </p:cNvSpPr>
          <p:nvPr>
            <p:ph type="body" idx="5"/>
          </p:nvPr>
        </p:nvSpPr>
        <p:spPr>
          <a:xfrm>
            <a:off x="626668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5" name="Google Shape;585;p38"/>
          <p:cNvSpPr txBox="1">
            <a:spLocks noGrp="1"/>
          </p:cNvSpPr>
          <p:nvPr>
            <p:ph type="body" idx="6"/>
          </p:nvPr>
        </p:nvSpPr>
        <p:spPr>
          <a:xfrm>
            <a:off x="888796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6" name="Google Shape;586;p38"/>
          <p:cNvSpPr txBox="1">
            <a:spLocks noGrp="1"/>
          </p:cNvSpPr>
          <p:nvPr>
            <p:ph type="subTitle" idx="7"/>
          </p:nvPr>
        </p:nvSpPr>
        <p:spPr>
          <a:xfrm>
            <a:off x="2194560" y="3706368"/>
            <a:ext cx="1012000" cy="231600"/>
          </a:xfrm>
          <a:prstGeom prst="rect">
            <a:avLst/>
          </a:prstGeom>
        </p:spPr>
        <p:txBody>
          <a:bodyPr spcFirstLastPara="1" wrap="square" lIns="45700" tIns="18275" rIns="45700" bIns="18275" anchor="t" anchorCtr="0">
            <a:noAutofit/>
          </a:bodyPr>
          <a:lstStyle>
            <a:lvl1pPr marL="0" lvl="0" indent="0">
              <a:spcBef>
                <a:spcPts val="0"/>
              </a:spcBef>
              <a:spcAft>
                <a:spcPts val="0"/>
              </a:spcAft>
              <a:buClr>
                <a:schemeClr val="lt1"/>
              </a:buClr>
              <a:buSzPts val="800"/>
              <a:buNone/>
              <a:defRPr sz="1067" b="1" i="0">
                <a:solidFill>
                  <a:schemeClr val="lt1"/>
                </a:solidFill>
                <a:latin typeface="Helvetica" pitchFamily="2" charset="0"/>
              </a:defRPr>
            </a:lvl1pPr>
            <a:lvl2pPr lvl="1">
              <a:spcBef>
                <a:spcPts val="0"/>
              </a:spcBef>
              <a:spcAft>
                <a:spcPts val="0"/>
              </a:spcAft>
              <a:buClr>
                <a:schemeClr val="lt1"/>
              </a:buClr>
              <a:buSzPts val="800"/>
              <a:buNone/>
              <a:defRPr sz="1067">
                <a:solidFill>
                  <a:schemeClr val="lt1"/>
                </a:solidFill>
              </a:defRPr>
            </a:lvl2pPr>
            <a:lvl3pPr lvl="2">
              <a:spcBef>
                <a:spcPts val="0"/>
              </a:spcBef>
              <a:spcAft>
                <a:spcPts val="0"/>
              </a:spcAft>
              <a:buClr>
                <a:schemeClr val="lt1"/>
              </a:buClr>
              <a:buSzPts val="800"/>
              <a:buNone/>
              <a:defRPr sz="1067">
                <a:solidFill>
                  <a:schemeClr val="lt1"/>
                </a:solidFill>
              </a:defRPr>
            </a:lvl3pPr>
            <a:lvl4pPr lvl="3">
              <a:spcBef>
                <a:spcPts val="0"/>
              </a:spcBef>
              <a:spcAft>
                <a:spcPts val="0"/>
              </a:spcAft>
              <a:buClr>
                <a:schemeClr val="lt1"/>
              </a:buClr>
              <a:buSzPts val="800"/>
              <a:buNone/>
              <a:defRPr sz="1067">
                <a:solidFill>
                  <a:schemeClr val="lt1"/>
                </a:solidFill>
              </a:defRPr>
            </a:lvl4pPr>
            <a:lvl5pPr lvl="4">
              <a:spcBef>
                <a:spcPts val="0"/>
              </a:spcBef>
              <a:spcAft>
                <a:spcPts val="0"/>
              </a:spcAft>
              <a:buClr>
                <a:schemeClr val="lt1"/>
              </a:buClr>
              <a:buSzPts val="800"/>
              <a:buNone/>
              <a:defRPr sz="1067">
                <a:solidFill>
                  <a:schemeClr val="lt1"/>
                </a:solidFill>
              </a:defRPr>
            </a:lvl5pPr>
            <a:lvl6pPr lvl="5">
              <a:spcBef>
                <a:spcPts val="0"/>
              </a:spcBef>
              <a:spcAft>
                <a:spcPts val="0"/>
              </a:spcAft>
              <a:buClr>
                <a:schemeClr val="lt1"/>
              </a:buClr>
              <a:buSzPts val="800"/>
              <a:buNone/>
              <a:defRPr sz="1067">
                <a:solidFill>
                  <a:schemeClr val="lt1"/>
                </a:solidFill>
              </a:defRPr>
            </a:lvl6pPr>
            <a:lvl7pPr lvl="6">
              <a:spcBef>
                <a:spcPts val="0"/>
              </a:spcBef>
              <a:spcAft>
                <a:spcPts val="0"/>
              </a:spcAft>
              <a:buClr>
                <a:schemeClr val="lt1"/>
              </a:buClr>
              <a:buSzPts val="800"/>
              <a:buNone/>
              <a:defRPr sz="1067">
                <a:solidFill>
                  <a:schemeClr val="lt1"/>
                </a:solidFill>
              </a:defRPr>
            </a:lvl7pPr>
            <a:lvl8pPr lvl="7">
              <a:spcBef>
                <a:spcPts val="0"/>
              </a:spcBef>
              <a:spcAft>
                <a:spcPts val="0"/>
              </a:spcAft>
              <a:buClr>
                <a:schemeClr val="lt1"/>
              </a:buClr>
              <a:buSzPts val="800"/>
              <a:buNone/>
              <a:defRPr sz="1067">
                <a:solidFill>
                  <a:schemeClr val="lt1"/>
                </a:solidFill>
              </a:defRPr>
            </a:lvl8pPr>
            <a:lvl9pPr lvl="8">
              <a:spcBef>
                <a:spcPts val="0"/>
              </a:spcBef>
              <a:spcAft>
                <a:spcPts val="0"/>
              </a:spcAft>
              <a:buClr>
                <a:schemeClr val="lt1"/>
              </a:buClr>
              <a:buSzPts val="800"/>
              <a:buNone/>
              <a:defRPr sz="1067">
                <a:solidFill>
                  <a:schemeClr val="lt1"/>
                </a:solidFill>
              </a:defRPr>
            </a:lvl9pPr>
          </a:lstStyle>
          <a:p>
            <a:endParaRPr/>
          </a:p>
        </p:txBody>
      </p:sp>
      <p:sp>
        <p:nvSpPr>
          <p:cNvPr id="587" name="Google Shape;587;p38"/>
          <p:cNvSpPr txBox="1">
            <a:spLocks noGrp="1"/>
          </p:cNvSpPr>
          <p:nvPr>
            <p:ph type="subTitle" idx="8"/>
          </p:nvPr>
        </p:nvSpPr>
        <p:spPr>
          <a:xfrm>
            <a:off x="476707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588" name="Google Shape;588;p38"/>
          <p:cNvSpPr txBox="1">
            <a:spLocks noGrp="1"/>
          </p:cNvSpPr>
          <p:nvPr>
            <p:ph type="subTitle" idx="9"/>
          </p:nvPr>
        </p:nvSpPr>
        <p:spPr>
          <a:xfrm>
            <a:off x="732739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589" name="Google Shape;589;p38"/>
          <p:cNvSpPr txBox="1">
            <a:spLocks noGrp="1"/>
          </p:cNvSpPr>
          <p:nvPr>
            <p:ph type="subTitle" idx="13"/>
          </p:nvPr>
        </p:nvSpPr>
        <p:spPr>
          <a:xfrm>
            <a:off x="9899904"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34" name="Google Shape;268;p27">
            <a:extLst>
              <a:ext uri="{FF2B5EF4-FFF2-40B4-BE49-F238E27FC236}">
                <a16:creationId xmlns:a16="http://schemas.microsoft.com/office/drawing/2014/main" id="{928080BF-F9DA-2E4C-A63D-D9BE35945435}"/>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35" name="Google Shape;67;p15">
            <a:extLst>
              <a:ext uri="{FF2B5EF4-FFF2-40B4-BE49-F238E27FC236}">
                <a16:creationId xmlns:a16="http://schemas.microsoft.com/office/drawing/2014/main" id="{1C406079-9924-AB4F-BE36-22D2C3846BDD}"/>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6" name="Google Shape;56;p14">
            <a:extLst>
              <a:ext uri="{FF2B5EF4-FFF2-40B4-BE49-F238E27FC236}">
                <a16:creationId xmlns:a16="http://schemas.microsoft.com/office/drawing/2014/main" id="{C405A5E5-EE9A-E64C-A67D-343ED7FC022F}"/>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37275480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901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4624651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matchingName="Cover">
  <p:cSld name="Cover">
    <p:spTree>
      <p:nvGrpSpPr>
        <p:cNvPr id="1" name="Shape 65"/>
        <p:cNvGrpSpPr/>
        <p:nvPr/>
      </p:nvGrpSpPr>
      <p:grpSpPr>
        <a:xfrm>
          <a:off x="0" y="0"/>
          <a:ext cx="0" cy="0"/>
          <a:chOff x="0" y="0"/>
          <a:chExt cx="0" cy="0"/>
        </a:xfrm>
      </p:grpSpPr>
      <p:sp>
        <p:nvSpPr>
          <p:cNvPr id="66" name="Google Shape;66;p15"/>
          <p:cNvSpPr/>
          <p:nvPr/>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200" tIns="28600" rIns="57200" bIns="28600" anchor="ctr" anchorCtr="0">
            <a:noAutofit/>
          </a:bodyPr>
          <a:lstStyle/>
          <a:p>
            <a:pPr marL="0" marR="0" lvl="0" indent="0" algn="ctr" rtl="0">
              <a:spcBef>
                <a:spcPts val="0"/>
              </a:spcBef>
              <a:spcAft>
                <a:spcPts val="0"/>
              </a:spcAft>
              <a:buNone/>
            </a:pPr>
            <a:endParaRPr sz="1067" b="0" i="0" u="none" strike="noStrike" cap="none">
              <a:solidFill>
                <a:schemeClr val="lt1"/>
              </a:solidFill>
              <a:latin typeface="Helvetica" pitchFamily="2" charset="0"/>
              <a:ea typeface="Calibri"/>
              <a:cs typeface="Calibri"/>
              <a:sym typeface="Calibri"/>
            </a:endParaRPr>
          </a:p>
        </p:txBody>
      </p:sp>
      <p:cxnSp>
        <p:nvCxnSpPr>
          <p:cNvPr id="67" name="Google Shape;67;p15"/>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69" name="Google Shape;69;p15"/>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fld id="{00000000-1234-1234-1234-123412341234}" type="slidenum">
              <a:rPr lang="en" sz="667"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7" b="0" i="0" u="none" strike="noStrike" cap="none">
              <a:solidFill>
                <a:schemeClr val="lt1"/>
              </a:solidFill>
              <a:latin typeface="Helvetica" pitchFamily="2" charset="0"/>
              <a:ea typeface="Helvetica Neue"/>
              <a:cs typeface="Helvetica Neue"/>
              <a:sym typeface="Helvetica Neue"/>
            </a:endParaRPr>
          </a:p>
        </p:txBody>
      </p:sp>
      <p:pic>
        <p:nvPicPr>
          <p:cNvPr id="70" name="Google Shape;70;p15"/>
          <p:cNvPicPr preferRelativeResize="0"/>
          <p:nvPr/>
        </p:nvPicPr>
        <p:blipFill rotWithShape="1">
          <a:blip r:embed="rId2">
            <a:alphaModFix amt="30000"/>
          </a:blip>
          <a:srcRect/>
          <a:stretch/>
        </p:blipFill>
        <p:spPr>
          <a:xfrm>
            <a:off x="6991595" y="852721"/>
            <a:ext cx="5016492" cy="5016492"/>
          </a:xfrm>
          <a:prstGeom prst="rect">
            <a:avLst/>
          </a:prstGeom>
          <a:noFill/>
          <a:ln>
            <a:noFill/>
          </a:ln>
        </p:spPr>
      </p:pic>
      <p:sp>
        <p:nvSpPr>
          <p:cNvPr id="71" name="Google Shape;71;p15"/>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r>
              <a:rPr lang="en" sz="667" b="0" i="0" u="none" strike="noStrike" cap="none">
                <a:solidFill>
                  <a:schemeClr val="lt1"/>
                </a:solidFill>
                <a:latin typeface="Helvetica" pitchFamily="2" charset="0"/>
                <a:ea typeface="Helvetica Neue"/>
                <a:cs typeface="Helvetica Neue"/>
                <a:sym typeface="Helvetica Neue"/>
              </a:rPr>
              <a:t>1</a:t>
            </a:r>
            <a:endParaRPr sz="933" b="0" i="0">
              <a:latin typeface="Helvetica" pitchFamily="2" charset="0"/>
            </a:endParaRPr>
          </a:p>
        </p:txBody>
      </p:sp>
      <p:pic>
        <p:nvPicPr>
          <p:cNvPr id="72" name="Google Shape;72;p15"/>
          <p:cNvPicPr preferRelativeResize="0"/>
          <p:nvPr/>
        </p:nvPicPr>
        <p:blipFill rotWithShape="1">
          <a:blip r:embed="rId3">
            <a:alphaModFix/>
          </a:blip>
          <a:srcRect l="12915" r="21622"/>
          <a:stretch/>
        </p:blipFill>
        <p:spPr>
          <a:xfrm>
            <a:off x="6672747" y="0"/>
            <a:ext cx="5519259" cy="6857995"/>
          </a:xfrm>
          <a:prstGeom prst="rect">
            <a:avLst/>
          </a:prstGeom>
          <a:noFill/>
          <a:ln>
            <a:noFill/>
          </a:ln>
        </p:spPr>
      </p:pic>
      <p:sp>
        <p:nvSpPr>
          <p:cNvPr id="73" name="Google Shape;73;p15"/>
          <p:cNvSpPr/>
          <p:nvPr/>
        </p:nvSpPr>
        <p:spPr>
          <a:xfrm rot="10800000">
            <a:off x="541967" y="0"/>
            <a:ext cx="97600" cy="3533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b="0" i="0">
              <a:latin typeface="Helvetica" pitchFamily="2" charset="0"/>
            </a:endParaRPr>
          </a:p>
        </p:txBody>
      </p:sp>
      <p:sp>
        <p:nvSpPr>
          <p:cNvPr id="74" name="Google Shape;74;p15"/>
          <p:cNvSpPr txBox="1">
            <a:spLocks noGrp="1"/>
          </p:cNvSpPr>
          <p:nvPr>
            <p:ph type="title"/>
          </p:nvPr>
        </p:nvSpPr>
        <p:spPr>
          <a:xfrm>
            <a:off x="816867" y="731533"/>
            <a:ext cx="5641200" cy="3144800"/>
          </a:xfrm>
          <a:prstGeom prst="rect">
            <a:avLst/>
          </a:prstGeom>
        </p:spPr>
        <p:txBody>
          <a:bodyPr spcFirstLastPara="1" wrap="square" lIns="45700" tIns="18275" rIns="45700" bIns="18275" anchor="t" anchorCtr="0">
            <a:noAutofit/>
          </a:bodyPr>
          <a:lstStyle>
            <a:lvl1pPr lvl="0" rtl="0">
              <a:lnSpc>
                <a:spcPct val="90000"/>
              </a:lnSpc>
              <a:spcBef>
                <a:spcPts val="0"/>
              </a:spcBef>
              <a:spcAft>
                <a:spcPts val="0"/>
              </a:spcAft>
              <a:buSzPts val="5400"/>
              <a:buNone/>
              <a:defRPr sz="7200"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5" name="Google Shape;75;p15"/>
          <p:cNvSpPr txBox="1">
            <a:spLocks noGrp="1"/>
          </p:cNvSpPr>
          <p:nvPr>
            <p:ph type="body" idx="1"/>
          </p:nvPr>
        </p:nvSpPr>
        <p:spPr>
          <a:xfrm>
            <a:off x="816867" y="4096500"/>
            <a:ext cx="5641200" cy="1634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9170" lvl="1" indent="-389457">
              <a:spcBef>
                <a:spcPts val="0"/>
              </a:spcBef>
              <a:spcAft>
                <a:spcPts val="0"/>
              </a:spcAft>
              <a:buSzPts val="1000"/>
              <a:buChar char="○"/>
              <a:defRPr/>
            </a:lvl2pPr>
            <a:lvl3pPr marL="1828754" lvl="2" indent="-389457">
              <a:spcBef>
                <a:spcPts val="0"/>
              </a:spcBef>
              <a:spcAft>
                <a:spcPts val="0"/>
              </a:spcAft>
              <a:buSzPts val="1000"/>
              <a:buChar char="■"/>
              <a:defRPr/>
            </a:lvl3pPr>
            <a:lvl4pPr marL="2438339" lvl="3" indent="-389457">
              <a:spcBef>
                <a:spcPts val="0"/>
              </a:spcBef>
              <a:spcAft>
                <a:spcPts val="0"/>
              </a:spcAft>
              <a:buSzPts val="1000"/>
              <a:buChar char="●"/>
              <a:defRPr/>
            </a:lvl4pPr>
            <a:lvl5pPr marL="3047924" lvl="4" indent="-389457">
              <a:spcBef>
                <a:spcPts val="0"/>
              </a:spcBef>
              <a:spcAft>
                <a:spcPts val="0"/>
              </a:spcAft>
              <a:buSzPts val="1000"/>
              <a:buChar char="○"/>
              <a:defRPr/>
            </a:lvl5pPr>
            <a:lvl6pPr marL="3657509" lvl="5" indent="-389457">
              <a:spcBef>
                <a:spcPts val="0"/>
              </a:spcBef>
              <a:spcAft>
                <a:spcPts val="0"/>
              </a:spcAft>
              <a:buSzPts val="1000"/>
              <a:buChar char="■"/>
              <a:defRPr/>
            </a:lvl6pPr>
            <a:lvl7pPr marL="4267093" lvl="6" indent="-389457">
              <a:spcBef>
                <a:spcPts val="0"/>
              </a:spcBef>
              <a:spcAft>
                <a:spcPts val="0"/>
              </a:spcAft>
              <a:buSzPts val="1000"/>
              <a:buChar char="●"/>
              <a:defRPr/>
            </a:lvl7pPr>
            <a:lvl8pPr marL="4876678" lvl="7" indent="-389457">
              <a:spcBef>
                <a:spcPts val="0"/>
              </a:spcBef>
              <a:spcAft>
                <a:spcPts val="0"/>
              </a:spcAft>
              <a:buSzPts val="1000"/>
              <a:buChar char="○"/>
              <a:defRPr/>
            </a:lvl8pPr>
            <a:lvl9pPr marL="5486263" lvl="8" indent="-389457">
              <a:spcBef>
                <a:spcPts val="0"/>
              </a:spcBef>
              <a:spcAft>
                <a:spcPts val="0"/>
              </a:spcAft>
              <a:buSzPts val="1000"/>
              <a:buChar char="■"/>
              <a:defRPr/>
            </a:lvl9pPr>
          </a:lstStyle>
          <a:p>
            <a:endParaRPr/>
          </a:p>
        </p:txBody>
      </p:sp>
      <p:sp>
        <p:nvSpPr>
          <p:cNvPr id="12" name="Google Shape;56;p14">
            <a:extLst>
              <a:ext uri="{FF2B5EF4-FFF2-40B4-BE49-F238E27FC236}">
                <a16:creationId xmlns:a16="http://schemas.microsoft.com/office/drawing/2014/main" id="{5A71BBE2-71EE-3842-AA49-8D4AD4FEF524}"/>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latinLnBrk="0" hangingPunct="1">
              <a:lnSpc>
                <a:spcPct val="120000"/>
              </a:lnSpc>
              <a:spcBef>
                <a:spcPts val="0"/>
              </a:spcBef>
              <a:spcAft>
                <a:spcPts val="0"/>
              </a:spcAft>
              <a:buNone/>
            </a:pPr>
            <a:r>
              <a:rPr lang="en-US" sz="700" kern="1200" spc="375">
                <a:solidFill>
                  <a:srgbClr val="627597"/>
                </a:solidFill>
                <a:latin typeface="Helvetica" pitchFamily="2" charset="0"/>
                <a:ea typeface="+mn-ea"/>
                <a:cs typeface="Segoe UI Light" panose="020B0502040204020203" pitchFamily="34" charset="0"/>
                <a:sym typeface="Helvetica Neue"/>
              </a:rPr>
              <a:t>MICROSOFT DEV BOX</a:t>
            </a:r>
            <a:endParaRPr lang="en-US" sz="700" kern="1200" spc="375">
              <a:solidFill>
                <a:srgbClr val="627597"/>
              </a:solidFill>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9543355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with graphic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57D6331F-1A15-46AA-A57A-300CC97487E4}"/>
              </a:ext>
            </a:extLst>
          </p:cNvPr>
          <p:cNvPicPr>
            <a:picLocks noChangeAspect="1"/>
          </p:cNvPicPr>
          <p:nvPr userDrawn="1"/>
        </p:nvPicPr>
        <p:blipFill>
          <a:blip r:embed="rId2"/>
          <a:stretch>
            <a:fillRect/>
          </a:stretch>
        </p:blipFill>
        <p:spPr>
          <a:xfrm>
            <a:off x="136885" y="159691"/>
            <a:ext cx="2635247" cy="871753"/>
          </a:xfrm>
          <a:prstGeom prst="rect">
            <a:avLst/>
          </a:prstGeom>
        </p:spPr>
      </p:pic>
      <p:grpSp>
        <p:nvGrpSpPr>
          <p:cNvPr id="37" name="Group 36">
            <a:extLst>
              <a:ext uri="{FF2B5EF4-FFF2-40B4-BE49-F238E27FC236}">
                <a16:creationId xmlns:a16="http://schemas.microsoft.com/office/drawing/2014/main" id="{695F69F3-6C65-4C67-BE9F-99EE13ECA942}"/>
              </a:ext>
            </a:extLst>
          </p:cNvPr>
          <p:cNvGrpSpPr/>
          <p:nvPr userDrawn="1"/>
        </p:nvGrpSpPr>
        <p:grpSpPr>
          <a:xfrm>
            <a:off x="6600946" y="859776"/>
            <a:ext cx="5148588" cy="5138447"/>
            <a:chOff x="6600946" y="859776"/>
            <a:chExt cx="5148588" cy="5138447"/>
          </a:xfrm>
        </p:grpSpPr>
        <p:grpSp>
          <p:nvGrpSpPr>
            <p:cNvPr id="38" name="Graphic 1">
              <a:extLst>
                <a:ext uri="{FF2B5EF4-FFF2-40B4-BE49-F238E27FC236}">
                  <a16:creationId xmlns:a16="http://schemas.microsoft.com/office/drawing/2014/main" id="{BC070748-6768-4FC2-A431-E43A99B45D24}"/>
                </a:ext>
              </a:extLst>
            </p:cNvPr>
            <p:cNvGrpSpPr/>
            <p:nvPr/>
          </p:nvGrpSpPr>
          <p:grpSpPr>
            <a:xfrm>
              <a:off x="6600946" y="859776"/>
              <a:ext cx="5148588" cy="5138447"/>
              <a:chOff x="5179859" y="2459480"/>
              <a:chExt cx="2077534" cy="2073148"/>
            </a:xfrm>
            <a:gradFill>
              <a:gsLst>
                <a:gs pos="100000">
                  <a:schemeClr val="tx2"/>
                </a:gs>
                <a:gs pos="23000">
                  <a:schemeClr val="accent5"/>
                </a:gs>
              </a:gsLst>
              <a:lin ang="10800000" scaled="1"/>
            </a:gradFill>
          </p:grpSpPr>
          <p:sp>
            <p:nvSpPr>
              <p:cNvPr id="48" name="Freeform: Shape 47">
                <a:extLst>
                  <a:ext uri="{FF2B5EF4-FFF2-40B4-BE49-F238E27FC236}">
                    <a16:creationId xmlns:a16="http://schemas.microsoft.com/office/drawing/2014/main" id="{04C016FB-6079-433E-86F5-11870BD5A617}"/>
                  </a:ext>
                </a:extLst>
              </p:cNvPr>
              <p:cNvSpPr/>
              <p:nvPr/>
            </p:nvSpPr>
            <p:spPr>
              <a:xfrm>
                <a:off x="5496685" y="2820334"/>
                <a:ext cx="1592644" cy="1616092"/>
              </a:xfrm>
              <a:custGeom>
                <a:avLst/>
                <a:gdLst>
                  <a:gd name="connsiteX0" fmla="*/ 1132079 w 1592644"/>
                  <a:gd name="connsiteY0" fmla="*/ 1616093 h 1616092"/>
                  <a:gd name="connsiteX1" fmla="*/ 1023494 w 1592644"/>
                  <a:gd name="connsiteY1" fmla="*/ 1573230 h 1616092"/>
                  <a:gd name="connsiteX2" fmla="*/ 50991 w 1592644"/>
                  <a:gd name="connsiteY2" fmla="*/ 665498 h 1616092"/>
                  <a:gd name="connsiteX3" fmla="*/ 4319 w 1592644"/>
                  <a:gd name="connsiteY3" fmla="*/ 513098 h 1616092"/>
                  <a:gd name="connsiteX4" fmla="*/ 112904 w 1592644"/>
                  <a:gd name="connsiteY4" fmla="*/ 395940 h 1616092"/>
                  <a:gd name="connsiteX5" fmla="*/ 1385444 w 1592644"/>
                  <a:gd name="connsiteY5" fmla="*/ 7320 h 1616092"/>
                  <a:gd name="connsiteX6" fmla="*/ 1541654 w 1592644"/>
                  <a:gd name="connsiteY6" fmla="*/ 43515 h 1616092"/>
                  <a:gd name="connsiteX7" fmla="*/ 1588326 w 1592644"/>
                  <a:gd name="connsiteY7" fmla="*/ 195915 h 1616092"/>
                  <a:gd name="connsiteX8" fmla="*/ 1289241 w 1592644"/>
                  <a:gd name="connsiteY8" fmla="*/ 1492268 h 1616092"/>
                  <a:gd name="connsiteX9" fmla="*/ 1180656 w 1592644"/>
                  <a:gd name="connsiteY9" fmla="*/ 1609425 h 1616092"/>
                  <a:gd name="connsiteX10" fmla="*/ 1132079 w 1592644"/>
                  <a:gd name="connsiteY10" fmla="*/ 1616093 h 1616092"/>
                  <a:gd name="connsiteX11" fmla="*/ 54801 w 1592644"/>
                  <a:gd name="connsiteY11" fmla="*/ 661688 h 1616092"/>
                  <a:gd name="connsiteX12" fmla="*/ 1028256 w 1592644"/>
                  <a:gd name="connsiteY12" fmla="*/ 1569420 h 1616092"/>
                  <a:gd name="connsiteX13" fmla="*/ 1178751 w 1592644"/>
                  <a:gd name="connsiteY13" fmla="*/ 1603710 h 1616092"/>
                  <a:gd name="connsiteX14" fmla="*/ 1284479 w 1592644"/>
                  <a:gd name="connsiteY14" fmla="*/ 1490363 h 1616092"/>
                  <a:gd name="connsiteX15" fmla="*/ 1583564 w 1592644"/>
                  <a:gd name="connsiteY15" fmla="*/ 194010 h 1616092"/>
                  <a:gd name="connsiteX16" fmla="*/ 1538796 w 1592644"/>
                  <a:gd name="connsiteY16" fmla="*/ 46373 h 1616092"/>
                  <a:gd name="connsiteX17" fmla="*/ 1388301 w 1592644"/>
                  <a:gd name="connsiteY17" fmla="*/ 12083 h 1616092"/>
                  <a:gd name="connsiteX18" fmla="*/ 114809 w 1592644"/>
                  <a:gd name="connsiteY18" fmla="*/ 401655 h 1616092"/>
                  <a:gd name="connsiteX19" fmla="*/ 9081 w 1592644"/>
                  <a:gd name="connsiteY19" fmla="*/ 515003 h 1616092"/>
                  <a:gd name="connsiteX20" fmla="*/ 54801 w 1592644"/>
                  <a:gd name="connsiteY20" fmla="*/ 661688 h 1616092"/>
                  <a:gd name="connsiteX21" fmla="*/ 54801 w 1592644"/>
                  <a:gd name="connsiteY21" fmla="*/ 661688 h 161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2644" h="1616092">
                    <a:moveTo>
                      <a:pt x="1132079" y="1616093"/>
                    </a:moveTo>
                    <a:cubicBezTo>
                      <a:pt x="1092074" y="1616093"/>
                      <a:pt x="1053974" y="1600853"/>
                      <a:pt x="1023494" y="1573230"/>
                    </a:cubicBezTo>
                    <a:lnTo>
                      <a:pt x="50991" y="665498"/>
                    </a:lnTo>
                    <a:cubicBezTo>
                      <a:pt x="9081" y="626445"/>
                      <a:pt x="-9016" y="569295"/>
                      <a:pt x="4319" y="513098"/>
                    </a:cubicBezTo>
                    <a:cubicBezTo>
                      <a:pt x="17654" y="456900"/>
                      <a:pt x="57659" y="413085"/>
                      <a:pt x="112904" y="395940"/>
                    </a:cubicBezTo>
                    <a:lnTo>
                      <a:pt x="1385444" y="7320"/>
                    </a:lnTo>
                    <a:cubicBezTo>
                      <a:pt x="1440689" y="-9825"/>
                      <a:pt x="1498791" y="3510"/>
                      <a:pt x="1541654" y="43515"/>
                    </a:cubicBezTo>
                    <a:cubicBezTo>
                      <a:pt x="1583564" y="82568"/>
                      <a:pt x="1601661" y="139718"/>
                      <a:pt x="1588326" y="195915"/>
                    </a:cubicBezTo>
                    <a:lnTo>
                      <a:pt x="1289241" y="1492268"/>
                    </a:lnTo>
                    <a:cubicBezTo>
                      <a:pt x="1275906" y="1548465"/>
                      <a:pt x="1235901" y="1592280"/>
                      <a:pt x="1180656" y="1609425"/>
                    </a:cubicBezTo>
                    <a:cubicBezTo>
                      <a:pt x="1163511" y="1614188"/>
                      <a:pt x="1148271" y="1616093"/>
                      <a:pt x="1132079" y="1616093"/>
                    </a:cubicBezTo>
                    <a:close/>
                    <a:moveTo>
                      <a:pt x="54801" y="661688"/>
                    </a:moveTo>
                    <a:lnTo>
                      <a:pt x="1028256" y="1569420"/>
                    </a:lnTo>
                    <a:cubicBezTo>
                      <a:pt x="1069214" y="1607520"/>
                      <a:pt x="1125411" y="1620855"/>
                      <a:pt x="1178751" y="1603710"/>
                    </a:cubicBezTo>
                    <a:cubicBezTo>
                      <a:pt x="1232091" y="1587518"/>
                      <a:pt x="1271144" y="1545608"/>
                      <a:pt x="1284479" y="1490363"/>
                    </a:cubicBezTo>
                    <a:lnTo>
                      <a:pt x="1583564" y="194010"/>
                    </a:lnTo>
                    <a:cubicBezTo>
                      <a:pt x="1595946" y="139718"/>
                      <a:pt x="1578801" y="84473"/>
                      <a:pt x="1538796" y="46373"/>
                    </a:cubicBezTo>
                    <a:cubicBezTo>
                      <a:pt x="1497839" y="8273"/>
                      <a:pt x="1441641" y="-5062"/>
                      <a:pt x="1388301" y="12083"/>
                    </a:cubicBezTo>
                    <a:lnTo>
                      <a:pt x="114809" y="401655"/>
                    </a:lnTo>
                    <a:cubicBezTo>
                      <a:pt x="61469" y="417848"/>
                      <a:pt x="22416" y="459758"/>
                      <a:pt x="9081" y="515003"/>
                    </a:cubicBezTo>
                    <a:cubicBezTo>
                      <a:pt x="-3301" y="568343"/>
                      <a:pt x="13844" y="623588"/>
                      <a:pt x="54801" y="661688"/>
                    </a:cubicBezTo>
                    <a:lnTo>
                      <a:pt x="54801" y="661688"/>
                    </a:lnTo>
                    <a:close/>
                  </a:path>
                </a:pathLst>
              </a:custGeom>
              <a:grpFill/>
              <a:ln w="9525" cap="flat">
                <a:noFill/>
                <a:prstDash val="solid"/>
                <a:miter/>
              </a:ln>
            </p:spPr>
            <p:txBody>
              <a:bodyPr rtlCol="0" anchor="ctr"/>
              <a:lstStyle/>
              <a:p>
                <a:endParaRPr lang="en-US" sz="1730"/>
              </a:p>
            </p:txBody>
          </p:sp>
          <p:sp>
            <p:nvSpPr>
              <p:cNvPr id="49" name="Freeform: Shape 48">
                <a:extLst>
                  <a:ext uri="{FF2B5EF4-FFF2-40B4-BE49-F238E27FC236}">
                    <a16:creationId xmlns:a16="http://schemas.microsoft.com/office/drawing/2014/main" id="{54102133-5E8C-4CB3-AC62-D09FC824D203}"/>
                  </a:ext>
                </a:extLst>
              </p:cNvPr>
              <p:cNvSpPr/>
              <p:nvPr/>
            </p:nvSpPr>
            <p:spPr>
              <a:xfrm>
                <a:off x="5569965" y="3033304"/>
                <a:ext cx="1648967" cy="1494562"/>
              </a:xfrm>
              <a:custGeom>
                <a:avLst/>
                <a:gdLst>
                  <a:gd name="connsiteX0" fmla="*/ 784479 w 1648967"/>
                  <a:gd name="connsiteY0" fmla="*/ 1494562 h 1494562"/>
                  <a:gd name="connsiteX1" fmla="*/ 778764 w 1648967"/>
                  <a:gd name="connsiteY1" fmla="*/ 1494562 h 1494562"/>
                  <a:gd name="connsiteX2" fmla="*/ 643509 w 1648967"/>
                  <a:gd name="connsiteY2" fmla="*/ 1409790 h 1494562"/>
                  <a:gd name="connsiteX3" fmla="*/ 18669 w 1648967"/>
                  <a:gd name="connsiteY3" fmla="*/ 235357 h 1494562"/>
                  <a:gd name="connsiteX4" fmla="*/ 18669 w 1648967"/>
                  <a:gd name="connsiteY4" fmla="*/ 235357 h 1494562"/>
                  <a:gd name="connsiteX5" fmla="*/ 24384 w 1648967"/>
                  <a:gd name="connsiteY5" fmla="*/ 75337 h 1494562"/>
                  <a:gd name="connsiteX6" fmla="*/ 165354 w 1648967"/>
                  <a:gd name="connsiteY6" fmla="*/ 90 h 1494562"/>
                  <a:gd name="connsiteX7" fmla="*/ 1495044 w 1648967"/>
                  <a:gd name="connsiteY7" fmla="*/ 46762 h 1494562"/>
                  <a:gd name="connsiteX8" fmla="*/ 1630299 w 1648967"/>
                  <a:gd name="connsiteY8" fmla="*/ 131535 h 1494562"/>
                  <a:gd name="connsiteX9" fmla="*/ 1624584 w 1648967"/>
                  <a:gd name="connsiteY9" fmla="*/ 291555 h 1494562"/>
                  <a:gd name="connsiteX10" fmla="*/ 919734 w 1648967"/>
                  <a:gd name="connsiteY10" fmla="*/ 1419315 h 1494562"/>
                  <a:gd name="connsiteX11" fmla="*/ 784479 w 1648967"/>
                  <a:gd name="connsiteY11" fmla="*/ 1494562 h 1494562"/>
                  <a:gd name="connsiteX12" fmla="*/ 158686 w 1648967"/>
                  <a:gd name="connsiteY12" fmla="*/ 5805 h 1494562"/>
                  <a:gd name="connsiteX13" fmla="*/ 28194 w 1648967"/>
                  <a:gd name="connsiteY13" fmla="*/ 78195 h 1494562"/>
                  <a:gd name="connsiteX14" fmla="*/ 22479 w 1648967"/>
                  <a:gd name="connsiteY14" fmla="*/ 232500 h 1494562"/>
                  <a:gd name="connsiteX15" fmla="*/ 22479 w 1648967"/>
                  <a:gd name="connsiteY15" fmla="*/ 232500 h 1494562"/>
                  <a:gd name="connsiteX16" fmla="*/ 647319 w 1648967"/>
                  <a:gd name="connsiteY16" fmla="*/ 1406932 h 1494562"/>
                  <a:gd name="connsiteX17" fmla="*/ 777812 w 1648967"/>
                  <a:gd name="connsiteY17" fmla="*/ 1488847 h 1494562"/>
                  <a:gd name="connsiteX18" fmla="*/ 914019 w 1648967"/>
                  <a:gd name="connsiteY18" fmla="*/ 1416457 h 1494562"/>
                  <a:gd name="connsiteX19" fmla="*/ 1618869 w 1648967"/>
                  <a:gd name="connsiteY19" fmla="*/ 288697 h 1494562"/>
                  <a:gd name="connsiteX20" fmla="*/ 1624584 w 1648967"/>
                  <a:gd name="connsiteY20" fmla="*/ 134392 h 1494562"/>
                  <a:gd name="connsiteX21" fmla="*/ 1494092 w 1648967"/>
                  <a:gd name="connsiteY21" fmla="*/ 52477 h 1494562"/>
                  <a:gd name="connsiteX22" fmla="*/ 164402 w 1648967"/>
                  <a:gd name="connsiteY22" fmla="*/ 5805 h 1494562"/>
                  <a:gd name="connsiteX23" fmla="*/ 158686 w 1648967"/>
                  <a:gd name="connsiteY23" fmla="*/ 5805 h 14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8967" h="1494562">
                    <a:moveTo>
                      <a:pt x="784479" y="1494562"/>
                    </a:moveTo>
                    <a:cubicBezTo>
                      <a:pt x="782574" y="1494562"/>
                      <a:pt x="780669" y="1494562"/>
                      <a:pt x="778764" y="1494562"/>
                    </a:cubicBezTo>
                    <a:cubicBezTo>
                      <a:pt x="720662" y="1492657"/>
                      <a:pt x="670179" y="1461225"/>
                      <a:pt x="643509" y="1409790"/>
                    </a:cubicBezTo>
                    <a:lnTo>
                      <a:pt x="18669" y="235357"/>
                    </a:lnTo>
                    <a:lnTo>
                      <a:pt x="18669" y="235357"/>
                    </a:lnTo>
                    <a:cubicBezTo>
                      <a:pt x="-8001" y="183922"/>
                      <a:pt x="-6096" y="124867"/>
                      <a:pt x="24384" y="75337"/>
                    </a:cubicBezTo>
                    <a:cubicBezTo>
                      <a:pt x="54864" y="26760"/>
                      <a:pt x="107252" y="-1815"/>
                      <a:pt x="165354" y="90"/>
                    </a:cubicBezTo>
                    <a:lnTo>
                      <a:pt x="1495044" y="46762"/>
                    </a:lnTo>
                    <a:cubicBezTo>
                      <a:pt x="1553147" y="48667"/>
                      <a:pt x="1603629" y="80100"/>
                      <a:pt x="1630299" y="131535"/>
                    </a:cubicBezTo>
                    <a:cubicBezTo>
                      <a:pt x="1656969" y="182970"/>
                      <a:pt x="1655064" y="242025"/>
                      <a:pt x="1624584" y="291555"/>
                    </a:cubicBezTo>
                    <a:lnTo>
                      <a:pt x="919734" y="1419315"/>
                    </a:lnTo>
                    <a:cubicBezTo>
                      <a:pt x="890206" y="1466940"/>
                      <a:pt x="839724" y="1494562"/>
                      <a:pt x="784479" y="1494562"/>
                    </a:cubicBezTo>
                    <a:close/>
                    <a:moveTo>
                      <a:pt x="158686" y="5805"/>
                    </a:moveTo>
                    <a:cubicBezTo>
                      <a:pt x="105347" y="5805"/>
                      <a:pt x="56769" y="32475"/>
                      <a:pt x="28194" y="78195"/>
                    </a:cubicBezTo>
                    <a:cubicBezTo>
                      <a:pt x="-1334" y="125820"/>
                      <a:pt x="-3239" y="182970"/>
                      <a:pt x="22479" y="232500"/>
                    </a:cubicBezTo>
                    <a:lnTo>
                      <a:pt x="22479" y="232500"/>
                    </a:lnTo>
                    <a:lnTo>
                      <a:pt x="647319" y="1406932"/>
                    </a:lnTo>
                    <a:cubicBezTo>
                      <a:pt x="673989" y="1456462"/>
                      <a:pt x="722567" y="1486942"/>
                      <a:pt x="777812" y="1488847"/>
                    </a:cubicBezTo>
                    <a:cubicBezTo>
                      <a:pt x="834009" y="1490752"/>
                      <a:pt x="884492" y="1464082"/>
                      <a:pt x="914019" y="1416457"/>
                    </a:cubicBezTo>
                    <a:lnTo>
                      <a:pt x="1618869" y="288697"/>
                    </a:lnTo>
                    <a:cubicBezTo>
                      <a:pt x="1648397" y="241072"/>
                      <a:pt x="1650302" y="183922"/>
                      <a:pt x="1624584" y="134392"/>
                    </a:cubicBezTo>
                    <a:cubicBezTo>
                      <a:pt x="1597914" y="84862"/>
                      <a:pt x="1549337" y="54382"/>
                      <a:pt x="1494092" y="52477"/>
                    </a:cubicBezTo>
                    <a:lnTo>
                      <a:pt x="164402" y="5805"/>
                    </a:lnTo>
                    <a:cubicBezTo>
                      <a:pt x="162497" y="5805"/>
                      <a:pt x="160592" y="5805"/>
                      <a:pt x="158686" y="5805"/>
                    </a:cubicBezTo>
                    <a:close/>
                  </a:path>
                </a:pathLst>
              </a:custGeom>
              <a:grpFill/>
              <a:ln w="9525" cap="flat">
                <a:noFill/>
                <a:prstDash val="solid"/>
                <a:miter/>
              </a:ln>
            </p:spPr>
            <p:txBody>
              <a:bodyPr rtlCol="0" anchor="ctr"/>
              <a:lstStyle/>
              <a:p>
                <a:endParaRPr lang="en-US" sz="1730"/>
              </a:p>
            </p:txBody>
          </p:sp>
          <p:sp>
            <p:nvSpPr>
              <p:cNvPr id="50" name="Freeform: Shape 49">
                <a:extLst>
                  <a:ext uri="{FF2B5EF4-FFF2-40B4-BE49-F238E27FC236}">
                    <a16:creationId xmlns:a16="http://schemas.microsoft.com/office/drawing/2014/main" id="{0BCE9930-CFBB-4646-901A-120648FA1B9E}"/>
                  </a:ext>
                </a:extLst>
              </p:cNvPr>
              <p:cNvSpPr/>
              <p:nvPr/>
            </p:nvSpPr>
            <p:spPr>
              <a:xfrm>
                <a:off x="5695335" y="2890984"/>
                <a:ext cx="1562058" cy="1634024"/>
              </a:xfrm>
              <a:custGeom>
                <a:avLst/>
                <a:gdLst>
                  <a:gd name="connsiteX0" fmla="*/ 368597 w 1562058"/>
                  <a:gd name="connsiteY0" fmla="*/ 1634025 h 1634024"/>
                  <a:gd name="connsiteX1" fmla="*/ 310494 w 1562058"/>
                  <a:gd name="connsiteY1" fmla="*/ 1623547 h 1634024"/>
                  <a:gd name="connsiteX2" fmla="*/ 209529 w 1562058"/>
                  <a:gd name="connsiteY2" fmla="*/ 1499722 h 1634024"/>
                  <a:gd name="connsiteX3" fmla="*/ 1884 w 1562058"/>
                  <a:gd name="connsiteY3" fmla="*/ 185272 h 1634024"/>
                  <a:gd name="connsiteX4" fmla="*/ 59034 w 1562058"/>
                  <a:gd name="connsiteY4" fmla="*/ 35730 h 1634024"/>
                  <a:gd name="connsiteX5" fmla="*/ 217149 w 1562058"/>
                  <a:gd name="connsiteY5" fmla="*/ 10965 h 1634024"/>
                  <a:gd name="connsiteX6" fmla="*/ 1459210 w 1562058"/>
                  <a:gd name="connsiteY6" fmla="*/ 488167 h 1634024"/>
                  <a:gd name="connsiteX7" fmla="*/ 1560174 w 1562058"/>
                  <a:gd name="connsiteY7" fmla="*/ 611992 h 1634024"/>
                  <a:gd name="connsiteX8" fmla="*/ 1503024 w 1562058"/>
                  <a:gd name="connsiteY8" fmla="*/ 761535 h 1634024"/>
                  <a:gd name="connsiteX9" fmla="*/ 469562 w 1562058"/>
                  <a:gd name="connsiteY9" fmla="*/ 1598782 h 1634024"/>
                  <a:gd name="connsiteX10" fmla="*/ 368597 w 1562058"/>
                  <a:gd name="connsiteY10" fmla="*/ 1634025 h 1634024"/>
                  <a:gd name="connsiteX11" fmla="*/ 159047 w 1562058"/>
                  <a:gd name="connsiteY11" fmla="*/ 5250 h 1634024"/>
                  <a:gd name="connsiteX12" fmla="*/ 62844 w 1562058"/>
                  <a:gd name="connsiteY12" fmla="*/ 39540 h 1634024"/>
                  <a:gd name="connsiteX13" fmla="*/ 7599 w 1562058"/>
                  <a:gd name="connsiteY13" fmla="*/ 183367 h 1634024"/>
                  <a:gd name="connsiteX14" fmla="*/ 215244 w 1562058"/>
                  <a:gd name="connsiteY14" fmla="*/ 1497818 h 1634024"/>
                  <a:gd name="connsiteX15" fmla="*/ 312399 w 1562058"/>
                  <a:gd name="connsiteY15" fmla="*/ 1617832 h 1634024"/>
                  <a:gd name="connsiteX16" fmla="*/ 464799 w 1562058"/>
                  <a:gd name="connsiteY16" fmla="*/ 1594020 h 1634024"/>
                  <a:gd name="connsiteX17" fmla="*/ 1498262 w 1562058"/>
                  <a:gd name="connsiteY17" fmla="*/ 756772 h 1634024"/>
                  <a:gd name="connsiteX18" fmla="*/ 1553507 w 1562058"/>
                  <a:gd name="connsiteY18" fmla="*/ 612945 h 1634024"/>
                  <a:gd name="connsiteX19" fmla="*/ 1456352 w 1562058"/>
                  <a:gd name="connsiteY19" fmla="*/ 492930 h 1634024"/>
                  <a:gd name="connsiteX20" fmla="*/ 215244 w 1562058"/>
                  <a:gd name="connsiteY20" fmla="*/ 15727 h 1634024"/>
                  <a:gd name="connsiteX21" fmla="*/ 159047 w 1562058"/>
                  <a:gd name="connsiteY21" fmla="*/ 5250 h 1634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2058" h="1634024">
                    <a:moveTo>
                      <a:pt x="368597" y="1634025"/>
                    </a:moveTo>
                    <a:cubicBezTo>
                      <a:pt x="349547" y="1634025"/>
                      <a:pt x="329544" y="1630215"/>
                      <a:pt x="310494" y="1623547"/>
                    </a:cubicBezTo>
                    <a:cubicBezTo>
                      <a:pt x="256202" y="1602593"/>
                      <a:pt x="219054" y="1556872"/>
                      <a:pt x="209529" y="1499722"/>
                    </a:cubicBezTo>
                    <a:lnTo>
                      <a:pt x="1884" y="185272"/>
                    </a:lnTo>
                    <a:cubicBezTo>
                      <a:pt x="-6688" y="128122"/>
                      <a:pt x="14267" y="72877"/>
                      <a:pt x="59034" y="35730"/>
                    </a:cubicBezTo>
                    <a:cubicBezTo>
                      <a:pt x="103802" y="-465"/>
                      <a:pt x="162857" y="-9990"/>
                      <a:pt x="217149" y="10965"/>
                    </a:cubicBezTo>
                    <a:lnTo>
                      <a:pt x="1459210" y="488167"/>
                    </a:lnTo>
                    <a:cubicBezTo>
                      <a:pt x="1513502" y="509122"/>
                      <a:pt x="1550649" y="554842"/>
                      <a:pt x="1560174" y="611992"/>
                    </a:cubicBezTo>
                    <a:cubicBezTo>
                      <a:pt x="1568747" y="669142"/>
                      <a:pt x="1547792" y="724387"/>
                      <a:pt x="1503024" y="761535"/>
                    </a:cubicBezTo>
                    <a:lnTo>
                      <a:pt x="469562" y="1598782"/>
                    </a:lnTo>
                    <a:cubicBezTo>
                      <a:pt x="439082" y="1621643"/>
                      <a:pt x="404792" y="1634025"/>
                      <a:pt x="368597" y="1634025"/>
                    </a:cubicBezTo>
                    <a:close/>
                    <a:moveTo>
                      <a:pt x="159047" y="5250"/>
                    </a:moveTo>
                    <a:cubicBezTo>
                      <a:pt x="124757" y="5250"/>
                      <a:pt x="90467" y="16680"/>
                      <a:pt x="62844" y="39540"/>
                    </a:cubicBezTo>
                    <a:cubicBezTo>
                      <a:pt x="19029" y="74782"/>
                      <a:pt x="-973" y="128122"/>
                      <a:pt x="7599" y="183367"/>
                    </a:cubicBezTo>
                    <a:lnTo>
                      <a:pt x="215244" y="1497818"/>
                    </a:lnTo>
                    <a:cubicBezTo>
                      <a:pt x="223817" y="1553062"/>
                      <a:pt x="260012" y="1597830"/>
                      <a:pt x="312399" y="1617832"/>
                    </a:cubicBezTo>
                    <a:cubicBezTo>
                      <a:pt x="364787" y="1637835"/>
                      <a:pt x="421937" y="1629262"/>
                      <a:pt x="464799" y="1594020"/>
                    </a:cubicBezTo>
                    <a:lnTo>
                      <a:pt x="1498262" y="756772"/>
                    </a:lnTo>
                    <a:cubicBezTo>
                      <a:pt x="1542077" y="721530"/>
                      <a:pt x="1562080" y="668190"/>
                      <a:pt x="1553507" y="612945"/>
                    </a:cubicBezTo>
                    <a:cubicBezTo>
                      <a:pt x="1544935" y="557700"/>
                      <a:pt x="1508740" y="512932"/>
                      <a:pt x="1456352" y="492930"/>
                    </a:cubicBezTo>
                    <a:lnTo>
                      <a:pt x="215244" y="15727"/>
                    </a:lnTo>
                    <a:cubicBezTo>
                      <a:pt x="197147" y="9060"/>
                      <a:pt x="178097" y="5250"/>
                      <a:pt x="159047" y="5250"/>
                    </a:cubicBezTo>
                    <a:close/>
                  </a:path>
                </a:pathLst>
              </a:custGeom>
              <a:grpFill/>
              <a:ln w="9525" cap="flat">
                <a:noFill/>
                <a:prstDash val="solid"/>
                <a:miter/>
              </a:ln>
            </p:spPr>
            <p:txBody>
              <a:bodyPr rtlCol="0" anchor="ctr"/>
              <a:lstStyle/>
              <a:p>
                <a:endParaRPr lang="en-US" sz="1730"/>
              </a:p>
            </p:txBody>
          </p:sp>
          <p:sp>
            <p:nvSpPr>
              <p:cNvPr id="51" name="Freeform: Shape 50">
                <a:extLst>
                  <a:ext uri="{FF2B5EF4-FFF2-40B4-BE49-F238E27FC236}">
                    <a16:creationId xmlns:a16="http://schemas.microsoft.com/office/drawing/2014/main" id="{8C60FDBA-7C23-4806-88B5-29E31C6583DC}"/>
                  </a:ext>
                </a:extLst>
              </p:cNvPr>
              <p:cNvSpPr/>
              <p:nvPr/>
            </p:nvSpPr>
            <p:spPr>
              <a:xfrm>
                <a:off x="5630741" y="2796715"/>
                <a:ext cx="1568373" cy="1631138"/>
              </a:xfrm>
              <a:custGeom>
                <a:avLst/>
                <a:gdLst>
                  <a:gd name="connsiteX0" fmla="*/ 158870 w 1568373"/>
                  <a:gd name="connsiteY0" fmla="*/ 1631139 h 1631138"/>
                  <a:gd name="connsiteX1" fmla="*/ 56953 w 1568373"/>
                  <a:gd name="connsiteY1" fmla="*/ 1593991 h 1631138"/>
                  <a:gd name="connsiteX2" fmla="*/ 2660 w 1568373"/>
                  <a:gd name="connsiteY2" fmla="*/ 1443496 h 1631138"/>
                  <a:gd name="connsiteX3" fmla="*/ 232213 w 1568373"/>
                  <a:gd name="connsiteY3" fmla="*/ 132856 h 1631138"/>
                  <a:gd name="connsiteX4" fmla="*/ 335083 w 1568373"/>
                  <a:gd name="connsiteY4" fmla="*/ 9984 h 1631138"/>
                  <a:gd name="connsiteX5" fmla="*/ 492246 w 1568373"/>
                  <a:gd name="connsiteY5" fmla="*/ 37606 h 1631138"/>
                  <a:gd name="connsiteX6" fmla="*/ 1511421 w 1568373"/>
                  <a:gd name="connsiteY6" fmla="*/ 892951 h 1631138"/>
                  <a:gd name="connsiteX7" fmla="*/ 1565713 w 1568373"/>
                  <a:gd name="connsiteY7" fmla="*/ 1043446 h 1631138"/>
                  <a:gd name="connsiteX8" fmla="*/ 1462843 w 1568373"/>
                  <a:gd name="connsiteY8" fmla="*/ 1166319 h 1631138"/>
                  <a:gd name="connsiteX9" fmla="*/ 214116 w 1568373"/>
                  <a:gd name="connsiteY9" fmla="*/ 1620662 h 1631138"/>
                  <a:gd name="connsiteX10" fmla="*/ 158870 w 1568373"/>
                  <a:gd name="connsiteY10" fmla="*/ 1631139 h 1631138"/>
                  <a:gd name="connsiteX11" fmla="*/ 390328 w 1568373"/>
                  <a:gd name="connsiteY11" fmla="*/ 6174 h 1631138"/>
                  <a:gd name="connsiteX12" fmla="*/ 336988 w 1568373"/>
                  <a:gd name="connsiteY12" fmla="*/ 15699 h 1631138"/>
                  <a:gd name="connsiteX13" fmla="*/ 237928 w 1568373"/>
                  <a:gd name="connsiteY13" fmla="*/ 133809 h 1631138"/>
                  <a:gd name="connsiteX14" fmla="*/ 7423 w 1568373"/>
                  <a:gd name="connsiteY14" fmla="*/ 1444449 h 1631138"/>
                  <a:gd name="connsiteX15" fmla="*/ 59810 w 1568373"/>
                  <a:gd name="connsiteY15" fmla="*/ 1589229 h 1631138"/>
                  <a:gd name="connsiteX16" fmla="*/ 212210 w 1568373"/>
                  <a:gd name="connsiteY16" fmla="*/ 1615899 h 1631138"/>
                  <a:gd name="connsiteX17" fmla="*/ 1461891 w 1568373"/>
                  <a:gd name="connsiteY17" fmla="*/ 1160604 h 1631138"/>
                  <a:gd name="connsiteX18" fmla="*/ 1560951 w 1568373"/>
                  <a:gd name="connsiteY18" fmla="*/ 1042494 h 1631138"/>
                  <a:gd name="connsiteX19" fmla="*/ 1508563 w 1568373"/>
                  <a:gd name="connsiteY19" fmla="*/ 897714 h 1631138"/>
                  <a:gd name="connsiteX20" fmla="*/ 489388 w 1568373"/>
                  <a:gd name="connsiteY20" fmla="*/ 42369 h 1631138"/>
                  <a:gd name="connsiteX21" fmla="*/ 390328 w 1568373"/>
                  <a:gd name="connsiteY21" fmla="*/ 6174 h 163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8373" h="1631138">
                    <a:moveTo>
                      <a:pt x="158870" y="1631139"/>
                    </a:moveTo>
                    <a:cubicBezTo>
                      <a:pt x="121723" y="1631139"/>
                      <a:pt x="86481" y="1617804"/>
                      <a:pt x="56953" y="1593991"/>
                    </a:cubicBezTo>
                    <a:cubicBezTo>
                      <a:pt x="13138" y="1556844"/>
                      <a:pt x="-7817" y="1500646"/>
                      <a:pt x="2660" y="1443496"/>
                    </a:cubicBezTo>
                    <a:lnTo>
                      <a:pt x="232213" y="132856"/>
                    </a:lnTo>
                    <a:cubicBezTo>
                      <a:pt x="242691" y="75706"/>
                      <a:pt x="280791" y="29986"/>
                      <a:pt x="335083" y="9984"/>
                    </a:cubicBezTo>
                    <a:cubicBezTo>
                      <a:pt x="389375" y="-10019"/>
                      <a:pt x="448431" y="459"/>
                      <a:pt x="492246" y="37606"/>
                    </a:cubicBezTo>
                    <a:lnTo>
                      <a:pt x="1511421" y="892951"/>
                    </a:lnTo>
                    <a:cubicBezTo>
                      <a:pt x="1555236" y="930099"/>
                      <a:pt x="1576191" y="986296"/>
                      <a:pt x="1565713" y="1043446"/>
                    </a:cubicBezTo>
                    <a:cubicBezTo>
                      <a:pt x="1555236" y="1100596"/>
                      <a:pt x="1517136" y="1146316"/>
                      <a:pt x="1462843" y="1166319"/>
                    </a:cubicBezTo>
                    <a:lnTo>
                      <a:pt x="214116" y="1620662"/>
                    </a:lnTo>
                    <a:cubicBezTo>
                      <a:pt x="196018" y="1627329"/>
                      <a:pt x="176968" y="1631139"/>
                      <a:pt x="158870" y="1631139"/>
                    </a:cubicBezTo>
                    <a:close/>
                    <a:moveTo>
                      <a:pt x="390328" y="6174"/>
                    </a:moveTo>
                    <a:cubicBezTo>
                      <a:pt x="372231" y="6174"/>
                      <a:pt x="354133" y="9031"/>
                      <a:pt x="336988" y="15699"/>
                    </a:cubicBezTo>
                    <a:cubicBezTo>
                      <a:pt x="284600" y="34749"/>
                      <a:pt x="247453" y="78564"/>
                      <a:pt x="237928" y="133809"/>
                    </a:cubicBezTo>
                    <a:lnTo>
                      <a:pt x="7423" y="1444449"/>
                    </a:lnTo>
                    <a:cubicBezTo>
                      <a:pt x="-2102" y="1499694"/>
                      <a:pt x="17900" y="1553987"/>
                      <a:pt x="59810" y="1589229"/>
                    </a:cubicBezTo>
                    <a:cubicBezTo>
                      <a:pt x="102673" y="1625424"/>
                      <a:pt x="159823" y="1634949"/>
                      <a:pt x="212210" y="1615899"/>
                    </a:cubicBezTo>
                    <a:lnTo>
                      <a:pt x="1461891" y="1160604"/>
                    </a:lnTo>
                    <a:cubicBezTo>
                      <a:pt x="1514278" y="1141554"/>
                      <a:pt x="1551426" y="1097739"/>
                      <a:pt x="1560951" y="1042494"/>
                    </a:cubicBezTo>
                    <a:cubicBezTo>
                      <a:pt x="1570476" y="987249"/>
                      <a:pt x="1550473" y="932956"/>
                      <a:pt x="1508563" y="897714"/>
                    </a:cubicBezTo>
                    <a:lnTo>
                      <a:pt x="489388" y="42369"/>
                    </a:lnTo>
                    <a:cubicBezTo>
                      <a:pt x="460813" y="18556"/>
                      <a:pt x="426523" y="6174"/>
                      <a:pt x="390328" y="6174"/>
                    </a:cubicBezTo>
                    <a:close/>
                  </a:path>
                </a:pathLst>
              </a:custGeom>
              <a:grpFill/>
              <a:ln w="9525" cap="flat">
                <a:noFill/>
                <a:prstDash val="solid"/>
                <a:miter/>
              </a:ln>
            </p:spPr>
            <p:txBody>
              <a:bodyPr rtlCol="0" anchor="ctr"/>
              <a:lstStyle/>
              <a:p>
                <a:endParaRPr lang="en-US" sz="1730"/>
              </a:p>
            </p:txBody>
          </p:sp>
          <p:sp>
            <p:nvSpPr>
              <p:cNvPr id="52" name="Freeform: Shape 51">
                <a:extLst>
                  <a:ext uri="{FF2B5EF4-FFF2-40B4-BE49-F238E27FC236}">
                    <a16:creationId xmlns:a16="http://schemas.microsoft.com/office/drawing/2014/main" id="{7DC83954-308D-4CAC-ADE0-92CE37FA6207}"/>
                  </a:ext>
                </a:extLst>
              </p:cNvPr>
              <p:cNvSpPr/>
              <p:nvPr/>
            </p:nvSpPr>
            <p:spPr>
              <a:xfrm>
                <a:off x="5402873" y="2763813"/>
                <a:ext cx="1649777" cy="1482113"/>
              </a:xfrm>
              <a:custGeom>
                <a:avLst/>
                <a:gdLst>
                  <a:gd name="connsiteX0" fmla="*/ 160044 w 1649777"/>
                  <a:gd name="connsiteY0" fmla="*/ 1482113 h 1482113"/>
                  <a:gd name="connsiteX1" fmla="*/ 22884 w 1649777"/>
                  <a:gd name="connsiteY1" fmla="*/ 1404961 h 1482113"/>
                  <a:gd name="connsiteX2" fmla="*/ 20026 w 1649777"/>
                  <a:gd name="connsiteY2" fmla="*/ 1244941 h 1482113"/>
                  <a:gd name="connsiteX3" fmla="*/ 664869 w 1649777"/>
                  <a:gd name="connsiteY3" fmla="*/ 81938 h 1482113"/>
                  <a:gd name="connsiteX4" fmla="*/ 667726 w 1649777"/>
                  <a:gd name="connsiteY4" fmla="*/ 82891 h 1482113"/>
                  <a:gd name="connsiteX5" fmla="*/ 664869 w 1649777"/>
                  <a:gd name="connsiteY5" fmla="*/ 81938 h 1482113"/>
                  <a:gd name="connsiteX6" fmla="*/ 802029 w 1649777"/>
                  <a:gd name="connsiteY6" fmla="*/ 23 h 1482113"/>
                  <a:gd name="connsiteX7" fmla="*/ 942046 w 1649777"/>
                  <a:gd name="connsiteY7" fmla="*/ 77176 h 1482113"/>
                  <a:gd name="connsiteX8" fmla="*/ 1626894 w 1649777"/>
                  <a:gd name="connsiteY8" fmla="*/ 1217318 h 1482113"/>
                  <a:gd name="connsiteX9" fmla="*/ 1629751 w 1649777"/>
                  <a:gd name="connsiteY9" fmla="*/ 1377338 h 1482113"/>
                  <a:gd name="connsiteX10" fmla="*/ 1492591 w 1649777"/>
                  <a:gd name="connsiteY10" fmla="*/ 1459253 h 1482113"/>
                  <a:gd name="connsiteX11" fmla="*/ 161949 w 1649777"/>
                  <a:gd name="connsiteY11" fmla="*/ 1482113 h 1482113"/>
                  <a:gd name="connsiteX12" fmla="*/ 160044 w 1649777"/>
                  <a:gd name="connsiteY12" fmla="*/ 1482113 h 1482113"/>
                  <a:gd name="connsiteX13" fmla="*/ 804886 w 1649777"/>
                  <a:gd name="connsiteY13" fmla="*/ 4786 h 1482113"/>
                  <a:gd name="connsiteX14" fmla="*/ 802029 w 1649777"/>
                  <a:gd name="connsiteY14" fmla="*/ 4786 h 1482113"/>
                  <a:gd name="connsiteX15" fmla="*/ 669631 w 1649777"/>
                  <a:gd name="connsiteY15" fmla="*/ 83843 h 1482113"/>
                  <a:gd name="connsiteX16" fmla="*/ 24789 w 1649777"/>
                  <a:gd name="connsiteY16" fmla="*/ 1247798 h 1482113"/>
                  <a:gd name="connsiteX17" fmla="*/ 27646 w 1649777"/>
                  <a:gd name="connsiteY17" fmla="*/ 1402103 h 1482113"/>
                  <a:gd name="connsiteX18" fmla="*/ 162901 w 1649777"/>
                  <a:gd name="connsiteY18" fmla="*/ 1477351 h 1482113"/>
                  <a:gd name="connsiteX19" fmla="*/ 1493544 w 1649777"/>
                  <a:gd name="connsiteY19" fmla="*/ 1454491 h 1482113"/>
                  <a:gd name="connsiteX20" fmla="*/ 1625941 w 1649777"/>
                  <a:gd name="connsiteY20" fmla="*/ 1375433 h 1482113"/>
                  <a:gd name="connsiteX21" fmla="*/ 1623084 w 1649777"/>
                  <a:gd name="connsiteY21" fmla="*/ 1221128 h 1482113"/>
                  <a:gd name="connsiteX22" fmla="*/ 937284 w 1649777"/>
                  <a:gd name="connsiteY22" fmla="*/ 79081 h 1482113"/>
                  <a:gd name="connsiteX23" fmla="*/ 804886 w 1649777"/>
                  <a:gd name="connsiteY23" fmla="*/ 4786 h 148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9777" h="1482113">
                    <a:moveTo>
                      <a:pt x="160044" y="1482113"/>
                    </a:moveTo>
                    <a:cubicBezTo>
                      <a:pt x="103846" y="1482113"/>
                      <a:pt x="52411" y="1453538"/>
                      <a:pt x="22884" y="1404961"/>
                    </a:cubicBezTo>
                    <a:cubicBezTo>
                      <a:pt x="-6644" y="1355431"/>
                      <a:pt x="-7596" y="1295423"/>
                      <a:pt x="20026" y="1244941"/>
                    </a:cubicBezTo>
                    <a:lnTo>
                      <a:pt x="664869" y="81938"/>
                    </a:lnTo>
                    <a:lnTo>
                      <a:pt x="667726" y="82891"/>
                    </a:lnTo>
                    <a:lnTo>
                      <a:pt x="664869" y="81938"/>
                    </a:lnTo>
                    <a:cubicBezTo>
                      <a:pt x="692491" y="31456"/>
                      <a:pt x="743926" y="976"/>
                      <a:pt x="802029" y="23"/>
                    </a:cubicBezTo>
                    <a:cubicBezTo>
                      <a:pt x="859179" y="-929"/>
                      <a:pt x="912519" y="27646"/>
                      <a:pt x="942046" y="77176"/>
                    </a:cubicBezTo>
                    <a:lnTo>
                      <a:pt x="1626894" y="1217318"/>
                    </a:lnTo>
                    <a:cubicBezTo>
                      <a:pt x="1656421" y="1266848"/>
                      <a:pt x="1657374" y="1326856"/>
                      <a:pt x="1629751" y="1377338"/>
                    </a:cubicBezTo>
                    <a:cubicBezTo>
                      <a:pt x="1602129" y="1427821"/>
                      <a:pt x="1550694" y="1458301"/>
                      <a:pt x="1492591" y="1459253"/>
                    </a:cubicBezTo>
                    <a:lnTo>
                      <a:pt x="161949" y="1482113"/>
                    </a:lnTo>
                    <a:cubicBezTo>
                      <a:pt x="161949" y="1482113"/>
                      <a:pt x="160996" y="1482113"/>
                      <a:pt x="160044" y="1482113"/>
                    </a:cubicBezTo>
                    <a:close/>
                    <a:moveTo>
                      <a:pt x="804886" y="4786"/>
                    </a:moveTo>
                    <a:cubicBezTo>
                      <a:pt x="803934" y="4786"/>
                      <a:pt x="802981" y="4786"/>
                      <a:pt x="802029" y="4786"/>
                    </a:cubicBezTo>
                    <a:cubicBezTo>
                      <a:pt x="745831" y="5738"/>
                      <a:pt x="697254" y="35266"/>
                      <a:pt x="669631" y="83843"/>
                    </a:cubicBezTo>
                    <a:lnTo>
                      <a:pt x="24789" y="1247798"/>
                    </a:lnTo>
                    <a:cubicBezTo>
                      <a:pt x="-1881" y="1296376"/>
                      <a:pt x="-929" y="1354478"/>
                      <a:pt x="27646" y="1402103"/>
                    </a:cubicBezTo>
                    <a:cubicBezTo>
                      <a:pt x="56221" y="1449728"/>
                      <a:pt x="106704" y="1478303"/>
                      <a:pt x="162901" y="1477351"/>
                    </a:cubicBezTo>
                    <a:lnTo>
                      <a:pt x="1493544" y="1454491"/>
                    </a:lnTo>
                    <a:cubicBezTo>
                      <a:pt x="1549741" y="1453538"/>
                      <a:pt x="1598319" y="1424011"/>
                      <a:pt x="1625941" y="1375433"/>
                    </a:cubicBezTo>
                    <a:cubicBezTo>
                      <a:pt x="1652611" y="1326856"/>
                      <a:pt x="1651659" y="1268753"/>
                      <a:pt x="1623084" y="1221128"/>
                    </a:cubicBezTo>
                    <a:lnTo>
                      <a:pt x="937284" y="79081"/>
                    </a:lnTo>
                    <a:cubicBezTo>
                      <a:pt x="908709" y="32408"/>
                      <a:pt x="860131" y="4786"/>
                      <a:pt x="804886" y="4786"/>
                    </a:cubicBezTo>
                    <a:close/>
                  </a:path>
                </a:pathLst>
              </a:custGeom>
              <a:grpFill/>
              <a:ln w="9525" cap="flat">
                <a:noFill/>
                <a:prstDash val="solid"/>
                <a:miter/>
              </a:ln>
            </p:spPr>
            <p:txBody>
              <a:bodyPr rtlCol="0" anchor="ctr"/>
              <a:lstStyle/>
              <a:p>
                <a:endParaRPr lang="en-US" sz="1730"/>
              </a:p>
            </p:txBody>
          </p:sp>
          <p:sp>
            <p:nvSpPr>
              <p:cNvPr id="53" name="Freeform: Shape 52">
                <a:extLst>
                  <a:ext uri="{FF2B5EF4-FFF2-40B4-BE49-F238E27FC236}">
                    <a16:creationId xmlns:a16="http://schemas.microsoft.com/office/drawing/2014/main" id="{85339DC7-664E-4BEF-85FE-D1109A719B7E}"/>
                  </a:ext>
                </a:extLst>
              </p:cNvPr>
              <p:cNvSpPr/>
              <p:nvPr/>
            </p:nvSpPr>
            <p:spPr>
              <a:xfrm>
                <a:off x="5247730" y="2789965"/>
                <a:ext cx="1584777" cy="1622649"/>
              </a:xfrm>
              <a:custGeom>
                <a:avLst/>
                <a:gdLst>
                  <a:gd name="connsiteX0" fmla="*/ 1425801 w 1584777"/>
                  <a:gd name="connsiteY0" fmla="*/ 1622649 h 1622649"/>
                  <a:gd name="connsiteX1" fmla="*/ 1375319 w 1584777"/>
                  <a:gd name="connsiteY1" fmla="*/ 1615029 h 1622649"/>
                  <a:gd name="connsiteX2" fmla="*/ 110399 w 1584777"/>
                  <a:gd name="connsiteY2" fmla="*/ 1203549 h 1622649"/>
                  <a:gd name="connsiteX3" fmla="*/ 3719 w 1584777"/>
                  <a:gd name="connsiteY3" fmla="*/ 1084487 h 1622649"/>
                  <a:gd name="connsiteX4" fmla="*/ 53249 w 1584777"/>
                  <a:gd name="connsiteY4" fmla="*/ 932087 h 1622649"/>
                  <a:gd name="connsiteX5" fmla="*/ 1041944 w 1584777"/>
                  <a:gd name="connsiteY5" fmla="*/ 41499 h 1622649"/>
                  <a:gd name="connsiteX6" fmla="*/ 1043849 w 1584777"/>
                  <a:gd name="connsiteY6" fmla="*/ 43404 h 1622649"/>
                  <a:gd name="connsiteX7" fmla="*/ 1041944 w 1584777"/>
                  <a:gd name="connsiteY7" fmla="*/ 41499 h 1622649"/>
                  <a:gd name="connsiteX8" fmla="*/ 1198154 w 1584777"/>
                  <a:gd name="connsiteY8" fmla="*/ 8162 h 1622649"/>
                  <a:gd name="connsiteX9" fmla="*/ 1304834 w 1584777"/>
                  <a:gd name="connsiteY9" fmla="*/ 127224 h 1622649"/>
                  <a:gd name="connsiteX10" fmla="*/ 1581059 w 1584777"/>
                  <a:gd name="connsiteY10" fmla="*/ 1428339 h 1622649"/>
                  <a:gd name="connsiteX11" fmla="*/ 1531529 w 1584777"/>
                  <a:gd name="connsiteY11" fmla="*/ 1580739 h 1622649"/>
                  <a:gd name="connsiteX12" fmla="*/ 1425801 w 1584777"/>
                  <a:gd name="connsiteY12" fmla="*/ 1622649 h 1622649"/>
                  <a:gd name="connsiteX13" fmla="*/ 1147671 w 1584777"/>
                  <a:gd name="connsiteY13" fmla="*/ 6257 h 1622649"/>
                  <a:gd name="connsiteX14" fmla="*/ 1044801 w 1584777"/>
                  <a:gd name="connsiteY14" fmla="*/ 46262 h 1622649"/>
                  <a:gd name="connsiteX15" fmla="*/ 56106 w 1584777"/>
                  <a:gd name="connsiteY15" fmla="*/ 936849 h 1622649"/>
                  <a:gd name="connsiteX16" fmla="*/ 8481 w 1584777"/>
                  <a:gd name="connsiteY16" fmla="*/ 1083534 h 1622649"/>
                  <a:gd name="connsiteX17" fmla="*/ 111351 w 1584777"/>
                  <a:gd name="connsiteY17" fmla="*/ 1197834 h 1622649"/>
                  <a:gd name="connsiteX18" fmla="*/ 1376272 w 1584777"/>
                  <a:gd name="connsiteY18" fmla="*/ 1609314 h 1622649"/>
                  <a:gd name="connsiteX19" fmla="*/ 1526766 w 1584777"/>
                  <a:gd name="connsiteY19" fmla="*/ 1576929 h 1622649"/>
                  <a:gd name="connsiteX20" fmla="*/ 1574391 w 1584777"/>
                  <a:gd name="connsiteY20" fmla="*/ 1430244 h 1622649"/>
                  <a:gd name="connsiteX21" fmla="*/ 1298166 w 1584777"/>
                  <a:gd name="connsiteY21" fmla="*/ 129129 h 1622649"/>
                  <a:gd name="connsiteX22" fmla="*/ 1195297 w 1584777"/>
                  <a:gd name="connsiteY22" fmla="*/ 14829 h 1622649"/>
                  <a:gd name="connsiteX23" fmla="*/ 1147671 w 1584777"/>
                  <a:gd name="connsiteY23" fmla="*/ 6257 h 162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4777" h="1622649">
                    <a:moveTo>
                      <a:pt x="1425801" y="1622649"/>
                    </a:moveTo>
                    <a:cubicBezTo>
                      <a:pt x="1409609" y="1622649"/>
                      <a:pt x="1392464" y="1619792"/>
                      <a:pt x="1375319" y="1615029"/>
                    </a:cubicBezTo>
                    <a:lnTo>
                      <a:pt x="110399" y="1203549"/>
                    </a:lnTo>
                    <a:cubicBezTo>
                      <a:pt x="55154" y="1185452"/>
                      <a:pt x="15149" y="1141637"/>
                      <a:pt x="3719" y="1084487"/>
                    </a:cubicBezTo>
                    <a:cubicBezTo>
                      <a:pt x="-8664" y="1028289"/>
                      <a:pt x="10386" y="971139"/>
                      <a:pt x="53249" y="932087"/>
                    </a:cubicBezTo>
                    <a:lnTo>
                      <a:pt x="1041944" y="41499"/>
                    </a:lnTo>
                    <a:lnTo>
                      <a:pt x="1043849" y="43404"/>
                    </a:lnTo>
                    <a:lnTo>
                      <a:pt x="1041944" y="41499"/>
                    </a:lnTo>
                    <a:cubicBezTo>
                      <a:pt x="1084806" y="2447"/>
                      <a:pt x="1142909" y="-9936"/>
                      <a:pt x="1198154" y="8162"/>
                    </a:cubicBezTo>
                    <a:cubicBezTo>
                      <a:pt x="1253399" y="26259"/>
                      <a:pt x="1293404" y="70074"/>
                      <a:pt x="1304834" y="127224"/>
                    </a:cubicBezTo>
                    <a:lnTo>
                      <a:pt x="1581059" y="1428339"/>
                    </a:lnTo>
                    <a:cubicBezTo>
                      <a:pt x="1593441" y="1484537"/>
                      <a:pt x="1574391" y="1541687"/>
                      <a:pt x="1531529" y="1580739"/>
                    </a:cubicBezTo>
                    <a:cubicBezTo>
                      <a:pt x="1502001" y="1608362"/>
                      <a:pt x="1463901" y="1622649"/>
                      <a:pt x="1425801" y="1622649"/>
                    </a:cubicBezTo>
                    <a:close/>
                    <a:moveTo>
                      <a:pt x="1147671" y="6257"/>
                    </a:moveTo>
                    <a:cubicBezTo>
                      <a:pt x="1110524" y="6257"/>
                      <a:pt x="1074329" y="19592"/>
                      <a:pt x="1044801" y="46262"/>
                    </a:cubicBezTo>
                    <a:lnTo>
                      <a:pt x="56106" y="936849"/>
                    </a:lnTo>
                    <a:cubicBezTo>
                      <a:pt x="14196" y="973997"/>
                      <a:pt x="-2949" y="1029242"/>
                      <a:pt x="8481" y="1083534"/>
                    </a:cubicBezTo>
                    <a:cubicBezTo>
                      <a:pt x="19911" y="1137827"/>
                      <a:pt x="58964" y="1180689"/>
                      <a:pt x="111351" y="1197834"/>
                    </a:cubicBezTo>
                    <a:lnTo>
                      <a:pt x="1376272" y="1609314"/>
                    </a:lnTo>
                    <a:cubicBezTo>
                      <a:pt x="1429611" y="1626459"/>
                      <a:pt x="1485809" y="1615029"/>
                      <a:pt x="1526766" y="1576929"/>
                    </a:cubicBezTo>
                    <a:cubicBezTo>
                      <a:pt x="1568676" y="1539782"/>
                      <a:pt x="1585822" y="1484537"/>
                      <a:pt x="1574391" y="1430244"/>
                    </a:cubicBezTo>
                    <a:lnTo>
                      <a:pt x="1298166" y="129129"/>
                    </a:lnTo>
                    <a:cubicBezTo>
                      <a:pt x="1286736" y="74837"/>
                      <a:pt x="1247684" y="31974"/>
                      <a:pt x="1195297" y="14829"/>
                    </a:cubicBezTo>
                    <a:cubicBezTo>
                      <a:pt x="1180056" y="9114"/>
                      <a:pt x="1163864" y="6257"/>
                      <a:pt x="1147671" y="6257"/>
                    </a:cubicBezTo>
                    <a:close/>
                  </a:path>
                </a:pathLst>
              </a:custGeom>
              <a:grpFill/>
              <a:ln w="9525" cap="flat">
                <a:noFill/>
                <a:prstDash val="solid"/>
                <a:miter/>
              </a:ln>
            </p:spPr>
            <p:txBody>
              <a:bodyPr rtlCol="0" anchor="ctr"/>
              <a:lstStyle/>
              <a:p>
                <a:endParaRPr lang="en-US" sz="1730"/>
              </a:p>
            </p:txBody>
          </p:sp>
          <p:sp>
            <p:nvSpPr>
              <p:cNvPr id="54" name="Freeform: Shape 53">
                <a:extLst>
                  <a:ext uri="{FF2B5EF4-FFF2-40B4-BE49-F238E27FC236}">
                    <a16:creationId xmlns:a16="http://schemas.microsoft.com/office/drawing/2014/main" id="{DED6E3EF-BEB2-400D-A55F-8F548AA8A3C2}"/>
                  </a:ext>
                </a:extLst>
              </p:cNvPr>
              <p:cNvSpPr/>
              <p:nvPr/>
            </p:nvSpPr>
            <p:spPr>
              <a:xfrm>
                <a:off x="5179859" y="2878404"/>
                <a:ext cx="1545260" cy="1640889"/>
              </a:xfrm>
              <a:custGeom>
                <a:avLst/>
                <a:gdLst>
                  <a:gd name="connsiteX0" fmla="*/ 1222210 w 1545260"/>
                  <a:gd name="connsiteY0" fmla="*/ 1640890 h 1640889"/>
                  <a:gd name="connsiteX1" fmla="*/ 1126008 w 1545260"/>
                  <a:gd name="connsiteY1" fmla="*/ 1608505 h 1640889"/>
                  <a:gd name="connsiteX2" fmla="*/ 63970 w 1545260"/>
                  <a:gd name="connsiteY2" fmla="*/ 807452 h 1640889"/>
                  <a:gd name="connsiteX3" fmla="*/ 1105 w 1545260"/>
                  <a:gd name="connsiteY3" fmla="*/ 660767 h 1640889"/>
                  <a:gd name="connsiteX4" fmla="*/ 97308 w 1545260"/>
                  <a:gd name="connsiteY4" fmla="*/ 533132 h 1640889"/>
                  <a:gd name="connsiteX5" fmla="*/ 1322223 w 1545260"/>
                  <a:gd name="connsiteY5" fmla="*/ 13067 h 1640889"/>
                  <a:gd name="connsiteX6" fmla="*/ 1481290 w 1545260"/>
                  <a:gd name="connsiteY6" fmla="*/ 32117 h 1640889"/>
                  <a:gd name="connsiteX7" fmla="*/ 1544155 w 1545260"/>
                  <a:gd name="connsiteY7" fmla="*/ 178802 h 1640889"/>
                  <a:gd name="connsiteX8" fmla="*/ 1382230 w 1545260"/>
                  <a:gd name="connsiteY8" fmla="*/ 1498967 h 1640889"/>
                  <a:gd name="connsiteX9" fmla="*/ 1286028 w 1545260"/>
                  <a:gd name="connsiteY9" fmla="*/ 1626602 h 1640889"/>
                  <a:gd name="connsiteX10" fmla="*/ 1222210 w 1545260"/>
                  <a:gd name="connsiteY10" fmla="*/ 1640890 h 1640889"/>
                  <a:gd name="connsiteX11" fmla="*/ 1323175 w 1545260"/>
                  <a:gd name="connsiteY11" fmla="*/ 15925 h 1640889"/>
                  <a:gd name="connsiteX12" fmla="*/ 1324128 w 1545260"/>
                  <a:gd name="connsiteY12" fmla="*/ 18782 h 1640889"/>
                  <a:gd name="connsiteX13" fmla="*/ 100165 w 1545260"/>
                  <a:gd name="connsiteY13" fmla="*/ 537895 h 1640889"/>
                  <a:gd name="connsiteX14" fmla="*/ 6820 w 1545260"/>
                  <a:gd name="connsiteY14" fmla="*/ 660767 h 1640889"/>
                  <a:gd name="connsiteX15" fmla="*/ 66828 w 1545260"/>
                  <a:gd name="connsiteY15" fmla="*/ 803642 h 1640889"/>
                  <a:gd name="connsiteX16" fmla="*/ 1128865 w 1545260"/>
                  <a:gd name="connsiteY16" fmla="*/ 1604695 h 1640889"/>
                  <a:gd name="connsiteX17" fmla="*/ 1282218 w 1545260"/>
                  <a:gd name="connsiteY17" fmla="*/ 1623745 h 1640889"/>
                  <a:gd name="connsiteX18" fmla="*/ 1375563 w 1545260"/>
                  <a:gd name="connsiteY18" fmla="*/ 1500872 h 1640889"/>
                  <a:gd name="connsiteX19" fmla="*/ 1537488 w 1545260"/>
                  <a:gd name="connsiteY19" fmla="*/ 180707 h 1640889"/>
                  <a:gd name="connsiteX20" fmla="*/ 1477480 w 1545260"/>
                  <a:gd name="connsiteY20" fmla="*/ 38785 h 1640889"/>
                  <a:gd name="connsiteX21" fmla="*/ 1324128 w 1545260"/>
                  <a:gd name="connsiteY21" fmla="*/ 19735 h 1640889"/>
                  <a:gd name="connsiteX22" fmla="*/ 1323175 w 1545260"/>
                  <a:gd name="connsiteY22" fmla="*/ 15925 h 164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5260" h="1640889">
                    <a:moveTo>
                      <a:pt x="1222210" y="1640890"/>
                    </a:moveTo>
                    <a:cubicBezTo>
                      <a:pt x="1187920" y="1640890"/>
                      <a:pt x="1154583" y="1629460"/>
                      <a:pt x="1126008" y="1608505"/>
                    </a:cubicBezTo>
                    <a:lnTo>
                      <a:pt x="63970" y="807452"/>
                    </a:lnTo>
                    <a:cubicBezTo>
                      <a:pt x="18250" y="772210"/>
                      <a:pt x="-5562" y="717917"/>
                      <a:pt x="1105" y="660767"/>
                    </a:cubicBezTo>
                    <a:cubicBezTo>
                      <a:pt x="7773" y="603617"/>
                      <a:pt x="43968" y="555992"/>
                      <a:pt x="97308" y="533132"/>
                    </a:cubicBezTo>
                    <a:lnTo>
                      <a:pt x="1322223" y="13067"/>
                    </a:lnTo>
                    <a:cubicBezTo>
                      <a:pt x="1375563" y="-9793"/>
                      <a:pt x="1434618" y="-2173"/>
                      <a:pt x="1481290" y="32117"/>
                    </a:cubicBezTo>
                    <a:cubicBezTo>
                      <a:pt x="1527010" y="67360"/>
                      <a:pt x="1550823" y="121652"/>
                      <a:pt x="1544155" y="178802"/>
                    </a:cubicBezTo>
                    <a:lnTo>
                      <a:pt x="1382230" y="1498967"/>
                    </a:lnTo>
                    <a:cubicBezTo>
                      <a:pt x="1375563" y="1556117"/>
                      <a:pt x="1339368" y="1603742"/>
                      <a:pt x="1286028" y="1626602"/>
                    </a:cubicBezTo>
                    <a:cubicBezTo>
                      <a:pt x="1264120" y="1636127"/>
                      <a:pt x="1243165" y="1640890"/>
                      <a:pt x="1222210" y="1640890"/>
                    </a:cubicBezTo>
                    <a:close/>
                    <a:moveTo>
                      <a:pt x="1323175" y="15925"/>
                    </a:moveTo>
                    <a:lnTo>
                      <a:pt x="1324128" y="18782"/>
                    </a:lnTo>
                    <a:lnTo>
                      <a:pt x="100165" y="537895"/>
                    </a:lnTo>
                    <a:cubicBezTo>
                      <a:pt x="48730" y="559802"/>
                      <a:pt x="14440" y="605522"/>
                      <a:pt x="6820" y="660767"/>
                    </a:cubicBezTo>
                    <a:cubicBezTo>
                      <a:pt x="153" y="716965"/>
                      <a:pt x="23013" y="769352"/>
                      <a:pt x="66828" y="803642"/>
                    </a:cubicBezTo>
                    <a:lnTo>
                      <a:pt x="1128865" y="1604695"/>
                    </a:lnTo>
                    <a:cubicBezTo>
                      <a:pt x="1173633" y="1638032"/>
                      <a:pt x="1230783" y="1645652"/>
                      <a:pt x="1282218" y="1623745"/>
                    </a:cubicBezTo>
                    <a:cubicBezTo>
                      <a:pt x="1333653" y="1601837"/>
                      <a:pt x="1367943" y="1556117"/>
                      <a:pt x="1375563" y="1500872"/>
                    </a:cubicBezTo>
                    <a:lnTo>
                      <a:pt x="1537488" y="180707"/>
                    </a:lnTo>
                    <a:cubicBezTo>
                      <a:pt x="1544155" y="125462"/>
                      <a:pt x="1521295" y="72122"/>
                      <a:pt x="1477480" y="38785"/>
                    </a:cubicBezTo>
                    <a:cubicBezTo>
                      <a:pt x="1432713" y="5447"/>
                      <a:pt x="1375563" y="-2173"/>
                      <a:pt x="1324128" y="19735"/>
                    </a:cubicBezTo>
                    <a:lnTo>
                      <a:pt x="1323175" y="15925"/>
                    </a:lnTo>
                    <a:close/>
                  </a:path>
                </a:pathLst>
              </a:custGeom>
              <a:grpFill/>
              <a:ln w="9525" cap="flat">
                <a:noFill/>
                <a:prstDash val="solid"/>
                <a:miter/>
              </a:ln>
            </p:spPr>
            <p:txBody>
              <a:bodyPr rtlCol="0" anchor="ctr"/>
              <a:lstStyle/>
              <a:p>
                <a:endParaRPr lang="en-US" sz="1730"/>
              </a:p>
            </p:txBody>
          </p:sp>
          <p:sp>
            <p:nvSpPr>
              <p:cNvPr id="55" name="Freeform: Shape 54">
                <a:extLst>
                  <a:ext uri="{FF2B5EF4-FFF2-40B4-BE49-F238E27FC236}">
                    <a16:creationId xmlns:a16="http://schemas.microsoft.com/office/drawing/2014/main" id="{4056E671-564E-4828-B12C-3873C15097FD}"/>
                  </a:ext>
                </a:extLst>
              </p:cNvPr>
              <p:cNvSpPr/>
              <p:nvPr/>
            </p:nvSpPr>
            <p:spPr>
              <a:xfrm>
                <a:off x="5208682" y="3017783"/>
                <a:ext cx="1646681" cy="1514845"/>
              </a:xfrm>
              <a:custGeom>
                <a:avLst/>
                <a:gdLst>
                  <a:gd name="connsiteX0" fmla="*/ 902875 w 1646681"/>
                  <a:gd name="connsiteY0" fmla="*/ 1514846 h 1514845"/>
                  <a:gd name="connsiteX1" fmla="*/ 770477 w 1646681"/>
                  <a:gd name="connsiteY1" fmla="*/ 1444361 h 1514845"/>
                  <a:gd name="connsiteX2" fmla="*/ 27527 w 1646681"/>
                  <a:gd name="connsiteY2" fmla="*/ 341366 h 1514845"/>
                  <a:gd name="connsiteX3" fmla="*/ 16097 w 1646681"/>
                  <a:gd name="connsiteY3" fmla="*/ 182298 h 1514845"/>
                  <a:gd name="connsiteX4" fmla="*/ 148495 w 1646681"/>
                  <a:gd name="connsiteY4" fmla="*/ 92763 h 1514845"/>
                  <a:gd name="connsiteX5" fmla="*/ 1475327 w 1646681"/>
                  <a:gd name="connsiteY5" fmla="*/ 371 h 1514845"/>
                  <a:gd name="connsiteX6" fmla="*/ 1619155 w 1646681"/>
                  <a:gd name="connsiteY6" fmla="*/ 70856 h 1514845"/>
                  <a:gd name="connsiteX7" fmla="*/ 1630585 w 1646681"/>
                  <a:gd name="connsiteY7" fmla="*/ 229923 h 1514845"/>
                  <a:gd name="connsiteX8" fmla="*/ 1047655 w 1646681"/>
                  <a:gd name="connsiteY8" fmla="*/ 1424358 h 1514845"/>
                  <a:gd name="connsiteX9" fmla="*/ 915257 w 1646681"/>
                  <a:gd name="connsiteY9" fmla="*/ 1513893 h 1514845"/>
                  <a:gd name="connsiteX10" fmla="*/ 902875 w 1646681"/>
                  <a:gd name="connsiteY10" fmla="*/ 1514846 h 1514845"/>
                  <a:gd name="connsiteX11" fmla="*/ 1475327 w 1646681"/>
                  <a:gd name="connsiteY11" fmla="*/ 2276 h 1514845"/>
                  <a:gd name="connsiteX12" fmla="*/ 1475327 w 1646681"/>
                  <a:gd name="connsiteY12" fmla="*/ 5133 h 1514845"/>
                  <a:gd name="connsiteX13" fmla="*/ 148495 w 1646681"/>
                  <a:gd name="connsiteY13" fmla="*/ 97526 h 1514845"/>
                  <a:gd name="connsiteX14" fmla="*/ 20860 w 1646681"/>
                  <a:gd name="connsiteY14" fmla="*/ 184203 h 1514845"/>
                  <a:gd name="connsiteX15" fmla="*/ 31337 w 1646681"/>
                  <a:gd name="connsiteY15" fmla="*/ 338508 h 1514845"/>
                  <a:gd name="connsiteX16" fmla="*/ 775240 w 1646681"/>
                  <a:gd name="connsiteY16" fmla="*/ 1441503 h 1514845"/>
                  <a:gd name="connsiteX17" fmla="*/ 914305 w 1646681"/>
                  <a:gd name="connsiteY17" fmla="*/ 1509131 h 1514845"/>
                  <a:gd name="connsiteX18" fmla="*/ 1041940 w 1646681"/>
                  <a:gd name="connsiteY18" fmla="*/ 1422453 h 1514845"/>
                  <a:gd name="connsiteX19" fmla="*/ 1624870 w 1646681"/>
                  <a:gd name="connsiteY19" fmla="*/ 227066 h 1514845"/>
                  <a:gd name="connsiteX20" fmla="*/ 1614392 w 1646681"/>
                  <a:gd name="connsiteY20" fmla="*/ 72761 h 1514845"/>
                  <a:gd name="connsiteX21" fmla="*/ 1475327 w 1646681"/>
                  <a:gd name="connsiteY21" fmla="*/ 5133 h 1514845"/>
                  <a:gd name="connsiteX22" fmla="*/ 1475327 w 1646681"/>
                  <a:gd name="connsiteY22" fmla="*/ 2276 h 151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46681" h="1514845">
                    <a:moveTo>
                      <a:pt x="902875" y="1514846"/>
                    </a:moveTo>
                    <a:cubicBezTo>
                      <a:pt x="849535" y="1514846"/>
                      <a:pt x="800957" y="1489128"/>
                      <a:pt x="770477" y="1444361"/>
                    </a:cubicBezTo>
                    <a:lnTo>
                      <a:pt x="27527" y="341366"/>
                    </a:lnTo>
                    <a:cubicBezTo>
                      <a:pt x="-4858" y="293741"/>
                      <a:pt x="-8668" y="233733"/>
                      <a:pt x="16097" y="182298"/>
                    </a:cubicBezTo>
                    <a:cubicBezTo>
                      <a:pt x="41815" y="129911"/>
                      <a:pt x="91345" y="96573"/>
                      <a:pt x="148495" y="92763"/>
                    </a:cubicBezTo>
                    <a:lnTo>
                      <a:pt x="1475327" y="371"/>
                    </a:lnTo>
                    <a:cubicBezTo>
                      <a:pt x="1533430" y="-3439"/>
                      <a:pt x="1586770" y="22278"/>
                      <a:pt x="1619155" y="70856"/>
                    </a:cubicBezTo>
                    <a:cubicBezTo>
                      <a:pt x="1651540" y="118481"/>
                      <a:pt x="1655350" y="178488"/>
                      <a:pt x="1630585" y="229923"/>
                    </a:cubicBezTo>
                    <a:lnTo>
                      <a:pt x="1047655" y="1424358"/>
                    </a:lnTo>
                    <a:cubicBezTo>
                      <a:pt x="1021937" y="1476746"/>
                      <a:pt x="972407" y="1510083"/>
                      <a:pt x="915257" y="1513893"/>
                    </a:cubicBezTo>
                    <a:cubicBezTo>
                      <a:pt x="910495" y="1513893"/>
                      <a:pt x="906685" y="1514846"/>
                      <a:pt x="902875" y="1514846"/>
                    </a:cubicBezTo>
                    <a:close/>
                    <a:moveTo>
                      <a:pt x="1475327" y="2276"/>
                    </a:moveTo>
                    <a:lnTo>
                      <a:pt x="1475327" y="5133"/>
                    </a:lnTo>
                    <a:lnTo>
                      <a:pt x="148495" y="97526"/>
                    </a:lnTo>
                    <a:cubicBezTo>
                      <a:pt x="93250" y="101336"/>
                      <a:pt x="45625" y="133720"/>
                      <a:pt x="20860" y="184203"/>
                    </a:cubicBezTo>
                    <a:cubicBezTo>
                      <a:pt x="-3905" y="234686"/>
                      <a:pt x="857" y="291836"/>
                      <a:pt x="31337" y="338508"/>
                    </a:cubicBezTo>
                    <a:lnTo>
                      <a:pt x="775240" y="1441503"/>
                    </a:lnTo>
                    <a:cubicBezTo>
                      <a:pt x="806672" y="1488176"/>
                      <a:pt x="858107" y="1512941"/>
                      <a:pt x="914305" y="1509131"/>
                    </a:cubicBezTo>
                    <a:cubicBezTo>
                      <a:pt x="969550" y="1505321"/>
                      <a:pt x="1018127" y="1472936"/>
                      <a:pt x="1041940" y="1422453"/>
                    </a:cubicBezTo>
                    <a:lnTo>
                      <a:pt x="1624870" y="227066"/>
                    </a:lnTo>
                    <a:cubicBezTo>
                      <a:pt x="1649635" y="176583"/>
                      <a:pt x="1644872" y="119433"/>
                      <a:pt x="1614392" y="72761"/>
                    </a:cubicBezTo>
                    <a:cubicBezTo>
                      <a:pt x="1582960" y="26088"/>
                      <a:pt x="1531525" y="1323"/>
                      <a:pt x="1475327" y="5133"/>
                    </a:cubicBezTo>
                    <a:lnTo>
                      <a:pt x="1475327" y="2276"/>
                    </a:lnTo>
                    <a:close/>
                  </a:path>
                </a:pathLst>
              </a:custGeom>
              <a:grpFill/>
              <a:ln w="9525" cap="flat">
                <a:noFill/>
                <a:prstDash val="solid"/>
                <a:miter/>
              </a:ln>
            </p:spPr>
            <p:txBody>
              <a:bodyPr rtlCol="0" anchor="ctr"/>
              <a:lstStyle/>
              <a:p>
                <a:endParaRPr lang="en-US" sz="1730"/>
              </a:p>
            </p:txBody>
          </p:sp>
          <p:sp>
            <p:nvSpPr>
              <p:cNvPr id="56" name="Freeform: Shape 55">
                <a:extLst>
                  <a:ext uri="{FF2B5EF4-FFF2-40B4-BE49-F238E27FC236}">
                    <a16:creationId xmlns:a16="http://schemas.microsoft.com/office/drawing/2014/main" id="{CE2375AC-EE5D-462B-8769-A875F92C6D3F}"/>
                  </a:ext>
                </a:extLst>
              </p:cNvPr>
              <p:cNvSpPr/>
              <p:nvPr/>
            </p:nvSpPr>
            <p:spPr>
              <a:xfrm>
                <a:off x="5329614" y="2845675"/>
                <a:ext cx="1604843" cy="1605039"/>
              </a:xfrm>
              <a:custGeom>
                <a:avLst/>
                <a:gdLst>
                  <a:gd name="connsiteX0" fmla="*/ 504765 w 1604843"/>
                  <a:gd name="connsiteY0" fmla="*/ 1605039 h 1605039"/>
                  <a:gd name="connsiteX1" fmla="*/ 462856 w 1604843"/>
                  <a:gd name="connsiteY1" fmla="*/ 1599324 h 1605039"/>
                  <a:gd name="connsiteX2" fmla="*/ 349508 w 1604843"/>
                  <a:gd name="connsiteY2" fmla="*/ 1485977 h 1605039"/>
                  <a:gd name="connsiteX3" fmla="*/ 5655 w 1604843"/>
                  <a:gd name="connsiteY3" fmla="*/ 201054 h 1605039"/>
                  <a:gd name="connsiteX4" fmla="*/ 46613 w 1604843"/>
                  <a:gd name="connsiteY4" fmla="*/ 46749 h 1605039"/>
                  <a:gd name="connsiteX5" fmla="*/ 200918 w 1604843"/>
                  <a:gd name="connsiteY5" fmla="*/ 5792 h 1605039"/>
                  <a:gd name="connsiteX6" fmla="*/ 1485841 w 1604843"/>
                  <a:gd name="connsiteY6" fmla="*/ 350597 h 1605039"/>
                  <a:gd name="connsiteX7" fmla="*/ 1599188 w 1604843"/>
                  <a:gd name="connsiteY7" fmla="*/ 463944 h 1605039"/>
                  <a:gd name="connsiteX8" fmla="*/ 1558231 w 1604843"/>
                  <a:gd name="connsiteY8" fmla="*/ 618249 h 1605039"/>
                  <a:gd name="connsiteX9" fmla="*/ 617161 w 1604843"/>
                  <a:gd name="connsiteY9" fmla="*/ 1559319 h 1605039"/>
                  <a:gd name="connsiteX10" fmla="*/ 504765 w 1604843"/>
                  <a:gd name="connsiteY10" fmla="*/ 1605039 h 1605039"/>
                  <a:gd name="connsiteX11" fmla="*/ 159008 w 1604843"/>
                  <a:gd name="connsiteY11" fmla="*/ 4839 h 1605039"/>
                  <a:gd name="connsiteX12" fmla="*/ 50423 w 1604843"/>
                  <a:gd name="connsiteY12" fmla="*/ 50559 h 1605039"/>
                  <a:gd name="connsiteX13" fmla="*/ 10418 w 1604843"/>
                  <a:gd name="connsiteY13" fmla="*/ 200102 h 1605039"/>
                  <a:gd name="connsiteX14" fmla="*/ 355223 w 1604843"/>
                  <a:gd name="connsiteY14" fmla="*/ 1485024 h 1605039"/>
                  <a:gd name="connsiteX15" fmla="*/ 464760 w 1604843"/>
                  <a:gd name="connsiteY15" fmla="*/ 1594562 h 1605039"/>
                  <a:gd name="connsiteX16" fmla="*/ 614303 w 1604843"/>
                  <a:gd name="connsiteY16" fmla="*/ 1554557 h 1605039"/>
                  <a:gd name="connsiteX17" fmla="*/ 1555373 w 1604843"/>
                  <a:gd name="connsiteY17" fmla="*/ 613487 h 1605039"/>
                  <a:gd name="connsiteX18" fmla="*/ 1595378 w 1604843"/>
                  <a:gd name="connsiteY18" fmla="*/ 463944 h 1605039"/>
                  <a:gd name="connsiteX19" fmla="*/ 1485841 w 1604843"/>
                  <a:gd name="connsiteY19" fmla="*/ 354407 h 1605039"/>
                  <a:gd name="connsiteX20" fmla="*/ 199965 w 1604843"/>
                  <a:gd name="connsiteY20" fmla="*/ 10554 h 1605039"/>
                  <a:gd name="connsiteX21" fmla="*/ 159008 w 1604843"/>
                  <a:gd name="connsiteY21" fmla="*/ 4839 h 160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4843" h="1605039">
                    <a:moveTo>
                      <a:pt x="504765" y="1605039"/>
                    </a:moveTo>
                    <a:cubicBezTo>
                      <a:pt x="490478" y="1605039"/>
                      <a:pt x="477143" y="1603134"/>
                      <a:pt x="462856" y="1599324"/>
                    </a:cubicBezTo>
                    <a:cubicBezTo>
                      <a:pt x="406658" y="1584084"/>
                      <a:pt x="364748" y="1542174"/>
                      <a:pt x="349508" y="1485977"/>
                    </a:cubicBezTo>
                    <a:lnTo>
                      <a:pt x="5655" y="201054"/>
                    </a:lnTo>
                    <a:cubicBezTo>
                      <a:pt x="-9585" y="144857"/>
                      <a:pt x="6608" y="87707"/>
                      <a:pt x="46613" y="46749"/>
                    </a:cubicBezTo>
                    <a:cubicBezTo>
                      <a:pt x="87570" y="5792"/>
                      <a:pt x="144720" y="-9448"/>
                      <a:pt x="200918" y="5792"/>
                    </a:cubicBezTo>
                    <a:lnTo>
                      <a:pt x="1485841" y="350597"/>
                    </a:lnTo>
                    <a:cubicBezTo>
                      <a:pt x="1542038" y="365837"/>
                      <a:pt x="1583948" y="407747"/>
                      <a:pt x="1599188" y="463944"/>
                    </a:cubicBezTo>
                    <a:cubicBezTo>
                      <a:pt x="1614428" y="520142"/>
                      <a:pt x="1598236" y="577292"/>
                      <a:pt x="1558231" y="618249"/>
                    </a:cubicBezTo>
                    <a:lnTo>
                      <a:pt x="617161" y="1559319"/>
                    </a:lnTo>
                    <a:cubicBezTo>
                      <a:pt x="586681" y="1588847"/>
                      <a:pt x="546675" y="1605039"/>
                      <a:pt x="504765" y="1605039"/>
                    </a:cubicBezTo>
                    <a:close/>
                    <a:moveTo>
                      <a:pt x="159008" y="4839"/>
                    </a:moveTo>
                    <a:cubicBezTo>
                      <a:pt x="119003" y="4839"/>
                      <a:pt x="79950" y="21032"/>
                      <a:pt x="50423" y="50559"/>
                    </a:cubicBezTo>
                    <a:cubicBezTo>
                      <a:pt x="11370" y="89612"/>
                      <a:pt x="-3870" y="145809"/>
                      <a:pt x="10418" y="200102"/>
                    </a:cubicBezTo>
                    <a:lnTo>
                      <a:pt x="355223" y="1485024"/>
                    </a:lnTo>
                    <a:cubicBezTo>
                      <a:pt x="369510" y="1539317"/>
                      <a:pt x="410468" y="1579322"/>
                      <a:pt x="464760" y="1594562"/>
                    </a:cubicBezTo>
                    <a:cubicBezTo>
                      <a:pt x="519053" y="1608849"/>
                      <a:pt x="574298" y="1593609"/>
                      <a:pt x="614303" y="1554557"/>
                    </a:cubicBezTo>
                    <a:lnTo>
                      <a:pt x="1555373" y="613487"/>
                    </a:lnTo>
                    <a:cubicBezTo>
                      <a:pt x="1594426" y="574434"/>
                      <a:pt x="1609666" y="518237"/>
                      <a:pt x="1595378" y="463944"/>
                    </a:cubicBezTo>
                    <a:cubicBezTo>
                      <a:pt x="1581091" y="409652"/>
                      <a:pt x="1540133" y="369647"/>
                      <a:pt x="1485841" y="354407"/>
                    </a:cubicBezTo>
                    <a:lnTo>
                      <a:pt x="199965" y="10554"/>
                    </a:lnTo>
                    <a:cubicBezTo>
                      <a:pt x="185678" y="6744"/>
                      <a:pt x="172343" y="4839"/>
                      <a:pt x="159008" y="4839"/>
                    </a:cubicBezTo>
                    <a:close/>
                  </a:path>
                </a:pathLst>
              </a:custGeom>
              <a:grpFill/>
              <a:ln w="9525" cap="flat">
                <a:noFill/>
                <a:prstDash val="solid"/>
                <a:miter/>
              </a:ln>
            </p:spPr>
            <p:txBody>
              <a:bodyPr rtlCol="0" anchor="ctr"/>
              <a:lstStyle/>
              <a:p>
                <a:endParaRPr lang="en-US" sz="1730"/>
              </a:p>
            </p:txBody>
          </p:sp>
          <p:sp>
            <p:nvSpPr>
              <p:cNvPr id="57" name="Freeform: Shape 56">
                <a:extLst>
                  <a:ext uri="{FF2B5EF4-FFF2-40B4-BE49-F238E27FC236}">
                    <a16:creationId xmlns:a16="http://schemas.microsoft.com/office/drawing/2014/main" id="{5543C42A-4AA4-4EE3-9D6A-20D705974B93}"/>
                  </a:ext>
                </a:extLst>
              </p:cNvPr>
              <p:cNvSpPr/>
              <p:nvPr/>
            </p:nvSpPr>
            <p:spPr>
              <a:xfrm>
                <a:off x="5435874" y="2634946"/>
                <a:ext cx="1515194" cy="1647175"/>
              </a:xfrm>
              <a:custGeom>
                <a:avLst/>
                <a:gdLst>
                  <a:gd name="connsiteX0" fmla="*/ 160380 w 1515194"/>
                  <a:gd name="connsiteY0" fmla="*/ 1647176 h 1647175"/>
                  <a:gd name="connsiteX1" fmla="*/ 70845 w 1515194"/>
                  <a:gd name="connsiteY1" fmla="*/ 1619553 h 1647175"/>
                  <a:gd name="connsiteX2" fmla="*/ 360 w 1515194"/>
                  <a:gd name="connsiteY2" fmla="*/ 1475726 h 1647175"/>
                  <a:gd name="connsiteX3" fmla="*/ 92752 w 1515194"/>
                  <a:gd name="connsiteY3" fmla="*/ 148893 h 1647175"/>
                  <a:gd name="connsiteX4" fmla="*/ 182287 w 1515194"/>
                  <a:gd name="connsiteY4" fmla="*/ 16496 h 1647175"/>
                  <a:gd name="connsiteX5" fmla="*/ 341355 w 1515194"/>
                  <a:gd name="connsiteY5" fmla="*/ 27926 h 1647175"/>
                  <a:gd name="connsiteX6" fmla="*/ 1444350 w 1515194"/>
                  <a:gd name="connsiteY6" fmla="*/ 771828 h 1647175"/>
                  <a:gd name="connsiteX7" fmla="*/ 1514835 w 1515194"/>
                  <a:gd name="connsiteY7" fmla="*/ 915656 h 1647175"/>
                  <a:gd name="connsiteX8" fmla="*/ 1425300 w 1515194"/>
                  <a:gd name="connsiteY8" fmla="*/ 1048053 h 1647175"/>
                  <a:gd name="connsiteX9" fmla="*/ 230865 w 1515194"/>
                  <a:gd name="connsiteY9" fmla="*/ 1630983 h 1647175"/>
                  <a:gd name="connsiteX10" fmla="*/ 160380 w 1515194"/>
                  <a:gd name="connsiteY10" fmla="*/ 1647176 h 1647175"/>
                  <a:gd name="connsiteX11" fmla="*/ 253725 w 1515194"/>
                  <a:gd name="connsiteY11" fmla="*/ 5066 h 1647175"/>
                  <a:gd name="connsiteX12" fmla="*/ 186097 w 1515194"/>
                  <a:gd name="connsiteY12" fmla="*/ 21258 h 1647175"/>
                  <a:gd name="connsiteX13" fmla="*/ 99420 w 1515194"/>
                  <a:gd name="connsiteY13" fmla="*/ 148893 h 1647175"/>
                  <a:gd name="connsiteX14" fmla="*/ 7027 w 1515194"/>
                  <a:gd name="connsiteY14" fmla="*/ 1475726 h 1647175"/>
                  <a:gd name="connsiteX15" fmla="*/ 74655 w 1515194"/>
                  <a:gd name="connsiteY15" fmla="*/ 1614791 h 1647175"/>
                  <a:gd name="connsiteX16" fmla="*/ 228960 w 1515194"/>
                  <a:gd name="connsiteY16" fmla="*/ 1625268 h 1647175"/>
                  <a:gd name="connsiteX17" fmla="*/ 1424347 w 1515194"/>
                  <a:gd name="connsiteY17" fmla="*/ 1042338 h 1647175"/>
                  <a:gd name="connsiteX18" fmla="*/ 1511025 w 1515194"/>
                  <a:gd name="connsiteY18" fmla="*/ 914703 h 1647175"/>
                  <a:gd name="connsiteX19" fmla="*/ 1443397 w 1515194"/>
                  <a:gd name="connsiteY19" fmla="*/ 775638 h 1647175"/>
                  <a:gd name="connsiteX20" fmla="*/ 340402 w 1515194"/>
                  <a:gd name="connsiteY20" fmla="*/ 31736 h 1647175"/>
                  <a:gd name="connsiteX21" fmla="*/ 253725 w 1515194"/>
                  <a:gd name="connsiteY21" fmla="*/ 5066 h 16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5194" h="1647175">
                    <a:moveTo>
                      <a:pt x="160380" y="1647176"/>
                    </a:moveTo>
                    <a:cubicBezTo>
                      <a:pt x="128947" y="1647176"/>
                      <a:pt x="98467" y="1637651"/>
                      <a:pt x="70845" y="1619553"/>
                    </a:cubicBezTo>
                    <a:cubicBezTo>
                      <a:pt x="23220" y="1587168"/>
                      <a:pt x="-3450" y="1533828"/>
                      <a:pt x="360" y="1475726"/>
                    </a:cubicBezTo>
                    <a:lnTo>
                      <a:pt x="92752" y="148893"/>
                    </a:lnTo>
                    <a:cubicBezTo>
                      <a:pt x="96562" y="90791"/>
                      <a:pt x="129900" y="41261"/>
                      <a:pt x="182287" y="16496"/>
                    </a:cubicBezTo>
                    <a:cubicBezTo>
                      <a:pt x="234675" y="-9222"/>
                      <a:pt x="293730" y="-4459"/>
                      <a:pt x="341355" y="27926"/>
                    </a:cubicBezTo>
                    <a:lnTo>
                      <a:pt x="1444350" y="771828"/>
                    </a:lnTo>
                    <a:cubicBezTo>
                      <a:pt x="1491975" y="804213"/>
                      <a:pt x="1518645" y="857553"/>
                      <a:pt x="1514835" y="915656"/>
                    </a:cubicBezTo>
                    <a:cubicBezTo>
                      <a:pt x="1511025" y="973758"/>
                      <a:pt x="1477687" y="1023288"/>
                      <a:pt x="1425300" y="1048053"/>
                    </a:cubicBezTo>
                    <a:lnTo>
                      <a:pt x="230865" y="1630983"/>
                    </a:lnTo>
                    <a:cubicBezTo>
                      <a:pt x="208005" y="1641461"/>
                      <a:pt x="184192" y="1647176"/>
                      <a:pt x="160380" y="1647176"/>
                    </a:cubicBezTo>
                    <a:close/>
                    <a:moveTo>
                      <a:pt x="253725" y="5066"/>
                    </a:moveTo>
                    <a:cubicBezTo>
                      <a:pt x="230865" y="5066"/>
                      <a:pt x="208005" y="10781"/>
                      <a:pt x="186097" y="21258"/>
                    </a:cubicBezTo>
                    <a:cubicBezTo>
                      <a:pt x="135615" y="46023"/>
                      <a:pt x="103230" y="93648"/>
                      <a:pt x="99420" y="148893"/>
                    </a:cubicBezTo>
                    <a:lnTo>
                      <a:pt x="7027" y="1475726"/>
                    </a:lnTo>
                    <a:cubicBezTo>
                      <a:pt x="3217" y="1530971"/>
                      <a:pt x="27982" y="1583358"/>
                      <a:pt x="74655" y="1614791"/>
                    </a:cubicBezTo>
                    <a:cubicBezTo>
                      <a:pt x="121327" y="1646223"/>
                      <a:pt x="178477" y="1650033"/>
                      <a:pt x="228960" y="1625268"/>
                    </a:cubicBezTo>
                    <a:lnTo>
                      <a:pt x="1424347" y="1042338"/>
                    </a:lnTo>
                    <a:cubicBezTo>
                      <a:pt x="1474830" y="1017573"/>
                      <a:pt x="1507215" y="969948"/>
                      <a:pt x="1511025" y="914703"/>
                    </a:cubicBezTo>
                    <a:cubicBezTo>
                      <a:pt x="1514835" y="859458"/>
                      <a:pt x="1490070" y="807071"/>
                      <a:pt x="1443397" y="775638"/>
                    </a:cubicBezTo>
                    <a:lnTo>
                      <a:pt x="340402" y="31736"/>
                    </a:lnTo>
                    <a:cubicBezTo>
                      <a:pt x="313732" y="14591"/>
                      <a:pt x="284205" y="5066"/>
                      <a:pt x="253725" y="5066"/>
                    </a:cubicBezTo>
                    <a:close/>
                  </a:path>
                </a:pathLst>
              </a:custGeom>
              <a:grpFill/>
              <a:ln w="9525" cap="flat">
                <a:noFill/>
                <a:prstDash val="solid"/>
                <a:miter/>
              </a:ln>
            </p:spPr>
            <p:txBody>
              <a:bodyPr rtlCol="0" anchor="ctr"/>
              <a:lstStyle/>
              <a:p>
                <a:endParaRPr lang="en-US" sz="1730"/>
              </a:p>
            </p:txBody>
          </p:sp>
          <p:sp>
            <p:nvSpPr>
              <p:cNvPr id="58" name="Freeform: Shape 57">
                <a:extLst>
                  <a:ext uri="{FF2B5EF4-FFF2-40B4-BE49-F238E27FC236}">
                    <a16:creationId xmlns:a16="http://schemas.microsoft.com/office/drawing/2014/main" id="{5A06D381-5E3A-45E2-943A-D8A9CD6DDB02}"/>
                  </a:ext>
                </a:extLst>
              </p:cNvPr>
              <p:cNvSpPr/>
              <p:nvPr/>
            </p:nvSpPr>
            <p:spPr>
              <a:xfrm>
                <a:off x="5267647" y="2501714"/>
                <a:ext cx="1640193" cy="1544187"/>
              </a:xfrm>
              <a:custGeom>
                <a:avLst/>
                <a:gdLst>
                  <a:gd name="connsiteX0" fmla="*/ 159062 w 1640193"/>
                  <a:gd name="connsiteY0" fmla="*/ 1544188 h 1544187"/>
                  <a:gd name="connsiteX1" fmla="*/ 32379 w 1640193"/>
                  <a:gd name="connsiteY1" fmla="*/ 1480370 h 1544187"/>
                  <a:gd name="connsiteX2" fmla="*/ 13329 w 1640193"/>
                  <a:gd name="connsiteY2" fmla="*/ 1321303 h 1544187"/>
                  <a:gd name="connsiteX3" fmla="*/ 532442 w 1640193"/>
                  <a:gd name="connsiteY3" fmla="*/ 97340 h 1544187"/>
                  <a:gd name="connsiteX4" fmla="*/ 660077 w 1640193"/>
                  <a:gd name="connsiteY4" fmla="*/ 1138 h 1544187"/>
                  <a:gd name="connsiteX5" fmla="*/ 806762 w 1640193"/>
                  <a:gd name="connsiteY5" fmla="*/ 64003 h 1544187"/>
                  <a:gd name="connsiteX6" fmla="*/ 1607814 w 1640193"/>
                  <a:gd name="connsiteY6" fmla="*/ 1126040 h 1544187"/>
                  <a:gd name="connsiteX7" fmla="*/ 1626864 w 1640193"/>
                  <a:gd name="connsiteY7" fmla="*/ 1285108 h 1544187"/>
                  <a:gd name="connsiteX8" fmla="*/ 1499229 w 1640193"/>
                  <a:gd name="connsiteY8" fmla="*/ 1381310 h 1544187"/>
                  <a:gd name="connsiteX9" fmla="*/ 179064 w 1640193"/>
                  <a:gd name="connsiteY9" fmla="*/ 1543235 h 1544187"/>
                  <a:gd name="connsiteX10" fmla="*/ 159062 w 1640193"/>
                  <a:gd name="connsiteY10" fmla="*/ 1544188 h 1544187"/>
                  <a:gd name="connsiteX11" fmla="*/ 680079 w 1640193"/>
                  <a:gd name="connsiteY11" fmla="*/ 4948 h 1544187"/>
                  <a:gd name="connsiteX12" fmla="*/ 661029 w 1640193"/>
                  <a:gd name="connsiteY12" fmla="*/ 5900 h 1544187"/>
                  <a:gd name="connsiteX13" fmla="*/ 538157 w 1640193"/>
                  <a:gd name="connsiteY13" fmla="*/ 99245 h 1544187"/>
                  <a:gd name="connsiteX14" fmla="*/ 18092 w 1640193"/>
                  <a:gd name="connsiteY14" fmla="*/ 1324160 h 1544187"/>
                  <a:gd name="connsiteX15" fmla="*/ 37142 w 1640193"/>
                  <a:gd name="connsiteY15" fmla="*/ 1477513 h 1544187"/>
                  <a:gd name="connsiteX16" fmla="*/ 179064 w 1640193"/>
                  <a:gd name="connsiteY16" fmla="*/ 1537520 h 1544187"/>
                  <a:gd name="connsiteX17" fmla="*/ 1499229 w 1640193"/>
                  <a:gd name="connsiteY17" fmla="*/ 1375595 h 1544187"/>
                  <a:gd name="connsiteX18" fmla="*/ 1622102 w 1640193"/>
                  <a:gd name="connsiteY18" fmla="*/ 1282250 h 1544187"/>
                  <a:gd name="connsiteX19" fmla="*/ 1603052 w 1640193"/>
                  <a:gd name="connsiteY19" fmla="*/ 1128898 h 1544187"/>
                  <a:gd name="connsiteX20" fmla="*/ 802952 w 1640193"/>
                  <a:gd name="connsiteY20" fmla="*/ 66860 h 1544187"/>
                  <a:gd name="connsiteX21" fmla="*/ 680079 w 1640193"/>
                  <a:gd name="connsiteY21" fmla="*/ 4948 h 154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0193" h="1544187">
                    <a:moveTo>
                      <a:pt x="159062" y="1544188"/>
                    </a:moveTo>
                    <a:cubicBezTo>
                      <a:pt x="109532" y="1544188"/>
                      <a:pt x="62859" y="1521328"/>
                      <a:pt x="32379" y="1480370"/>
                    </a:cubicBezTo>
                    <a:cubicBezTo>
                      <a:pt x="-2863" y="1434650"/>
                      <a:pt x="-9531" y="1374643"/>
                      <a:pt x="13329" y="1321303"/>
                    </a:cubicBezTo>
                    <a:lnTo>
                      <a:pt x="532442" y="97340"/>
                    </a:lnTo>
                    <a:cubicBezTo>
                      <a:pt x="555302" y="44000"/>
                      <a:pt x="602927" y="7805"/>
                      <a:pt x="660077" y="1138"/>
                    </a:cubicBezTo>
                    <a:cubicBezTo>
                      <a:pt x="717227" y="-5530"/>
                      <a:pt x="772472" y="17330"/>
                      <a:pt x="806762" y="64003"/>
                    </a:cubicBezTo>
                    <a:lnTo>
                      <a:pt x="1607814" y="1126040"/>
                    </a:lnTo>
                    <a:cubicBezTo>
                      <a:pt x="1643057" y="1171760"/>
                      <a:pt x="1649724" y="1231768"/>
                      <a:pt x="1626864" y="1285108"/>
                    </a:cubicBezTo>
                    <a:cubicBezTo>
                      <a:pt x="1604004" y="1338448"/>
                      <a:pt x="1556379" y="1374643"/>
                      <a:pt x="1499229" y="1381310"/>
                    </a:cubicBezTo>
                    <a:lnTo>
                      <a:pt x="179064" y="1543235"/>
                    </a:lnTo>
                    <a:cubicBezTo>
                      <a:pt x="172397" y="1544188"/>
                      <a:pt x="165729" y="1544188"/>
                      <a:pt x="159062" y="1544188"/>
                    </a:cubicBezTo>
                    <a:close/>
                    <a:moveTo>
                      <a:pt x="680079" y="4948"/>
                    </a:moveTo>
                    <a:cubicBezTo>
                      <a:pt x="673412" y="4948"/>
                      <a:pt x="666744" y="4948"/>
                      <a:pt x="661029" y="5900"/>
                    </a:cubicBezTo>
                    <a:cubicBezTo>
                      <a:pt x="605784" y="12568"/>
                      <a:pt x="559112" y="47810"/>
                      <a:pt x="538157" y="99245"/>
                    </a:cubicBezTo>
                    <a:lnTo>
                      <a:pt x="18092" y="1324160"/>
                    </a:lnTo>
                    <a:cubicBezTo>
                      <a:pt x="-3816" y="1375595"/>
                      <a:pt x="2852" y="1432745"/>
                      <a:pt x="37142" y="1477513"/>
                    </a:cubicBezTo>
                    <a:cubicBezTo>
                      <a:pt x="70479" y="1522280"/>
                      <a:pt x="123819" y="1544188"/>
                      <a:pt x="179064" y="1537520"/>
                    </a:cubicBezTo>
                    <a:lnTo>
                      <a:pt x="1499229" y="1375595"/>
                    </a:lnTo>
                    <a:cubicBezTo>
                      <a:pt x="1554474" y="1368928"/>
                      <a:pt x="1601147" y="1333685"/>
                      <a:pt x="1622102" y="1282250"/>
                    </a:cubicBezTo>
                    <a:cubicBezTo>
                      <a:pt x="1644009" y="1230815"/>
                      <a:pt x="1637342" y="1173665"/>
                      <a:pt x="1603052" y="1128898"/>
                    </a:cubicBezTo>
                    <a:lnTo>
                      <a:pt x="802952" y="66860"/>
                    </a:lnTo>
                    <a:cubicBezTo>
                      <a:pt x="773424" y="27808"/>
                      <a:pt x="728657" y="4948"/>
                      <a:pt x="680079" y="4948"/>
                    </a:cubicBezTo>
                    <a:close/>
                  </a:path>
                </a:pathLst>
              </a:custGeom>
              <a:grpFill/>
              <a:ln w="9525" cap="flat">
                <a:noFill/>
                <a:prstDash val="solid"/>
                <a:miter/>
              </a:ln>
            </p:spPr>
            <p:txBody>
              <a:bodyPr rtlCol="0" anchor="ctr"/>
              <a:lstStyle/>
              <a:p>
                <a:endParaRPr lang="en-US" sz="1730"/>
              </a:p>
            </p:txBody>
          </p:sp>
          <p:sp>
            <p:nvSpPr>
              <p:cNvPr id="59" name="Freeform: Shape 58">
                <a:extLst>
                  <a:ext uri="{FF2B5EF4-FFF2-40B4-BE49-F238E27FC236}">
                    <a16:creationId xmlns:a16="http://schemas.microsoft.com/office/drawing/2014/main" id="{6A50715D-06C2-4A50-B805-7C779755D7AD}"/>
                  </a:ext>
                </a:extLst>
              </p:cNvPr>
              <p:cNvSpPr/>
              <p:nvPr/>
            </p:nvSpPr>
            <p:spPr>
              <a:xfrm>
                <a:off x="5184232" y="2459493"/>
                <a:ext cx="1623190" cy="1584503"/>
              </a:xfrm>
              <a:custGeom>
                <a:avLst/>
                <a:gdLst>
                  <a:gd name="connsiteX0" fmla="*/ 1462629 w 1623190"/>
                  <a:gd name="connsiteY0" fmla="*/ 1584504 h 1584503"/>
                  <a:gd name="connsiteX1" fmla="*/ 1428339 w 1623190"/>
                  <a:gd name="connsiteY1" fmla="*/ 1580694 h 1584503"/>
                  <a:gd name="connsiteX2" fmla="*/ 127224 w 1623190"/>
                  <a:gd name="connsiteY2" fmla="*/ 1304469 h 1584503"/>
                  <a:gd name="connsiteX3" fmla="*/ 8162 w 1623190"/>
                  <a:gd name="connsiteY3" fmla="*/ 1197789 h 1584503"/>
                  <a:gd name="connsiteX4" fmla="*/ 41499 w 1623190"/>
                  <a:gd name="connsiteY4" fmla="*/ 1041579 h 1584503"/>
                  <a:gd name="connsiteX5" fmla="*/ 932087 w 1623190"/>
                  <a:gd name="connsiteY5" fmla="*/ 52884 h 1584503"/>
                  <a:gd name="connsiteX6" fmla="*/ 1084487 w 1623190"/>
                  <a:gd name="connsiteY6" fmla="*/ 3354 h 1584503"/>
                  <a:gd name="connsiteX7" fmla="*/ 1203549 w 1623190"/>
                  <a:gd name="connsiteY7" fmla="*/ 110034 h 1584503"/>
                  <a:gd name="connsiteX8" fmla="*/ 1615029 w 1623190"/>
                  <a:gd name="connsiteY8" fmla="*/ 1374954 h 1584503"/>
                  <a:gd name="connsiteX9" fmla="*/ 1581692 w 1623190"/>
                  <a:gd name="connsiteY9" fmla="*/ 1531164 h 1584503"/>
                  <a:gd name="connsiteX10" fmla="*/ 1462629 w 1623190"/>
                  <a:gd name="connsiteY10" fmla="*/ 1584504 h 1584503"/>
                  <a:gd name="connsiteX11" fmla="*/ 1050197 w 1623190"/>
                  <a:gd name="connsiteY11" fmla="*/ 5259 h 1584503"/>
                  <a:gd name="connsiteX12" fmla="*/ 935897 w 1623190"/>
                  <a:gd name="connsiteY12" fmla="*/ 56694 h 1584503"/>
                  <a:gd name="connsiteX13" fmla="*/ 45309 w 1623190"/>
                  <a:gd name="connsiteY13" fmla="*/ 1044436 h 1584503"/>
                  <a:gd name="connsiteX14" fmla="*/ 12924 w 1623190"/>
                  <a:gd name="connsiteY14" fmla="*/ 1194931 h 1584503"/>
                  <a:gd name="connsiteX15" fmla="*/ 127224 w 1623190"/>
                  <a:gd name="connsiteY15" fmla="*/ 1297801 h 1584503"/>
                  <a:gd name="connsiteX16" fmla="*/ 1428339 w 1623190"/>
                  <a:gd name="connsiteY16" fmla="*/ 1574026 h 1584503"/>
                  <a:gd name="connsiteX17" fmla="*/ 1575024 w 1623190"/>
                  <a:gd name="connsiteY17" fmla="*/ 1526401 h 1584503"/>
                  <a:gd name="connsiteX18" fmla="*/ 1607409 w 1623190"/>
                  <a:gd name="connsiteY18" fmla="*/ 1375906 h 1584503"/>
                  <a:gd name="connsiteX19" fmla="*/ 1197834 w 1623190"/>
                  <a:gd name="connsiteY19" fmla="*/ 111939 h 1584503"/>
                  <a:gd name="connsiteX20" fmla="*/ 1083534 w 1623190"/>
                  <a:gd name="connsiteY20" fmla="*/ 9069 h 1584503"/>
                  <a:gd name="connsiteX21" fmla="*/ 1050197 w 1623190"/>
                  <a:gd name="connsiteY21" fmla="*/ 5259 h 158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23190" h="1584503">
                    <a:moveTo>
                      <a:pt x="1462629" y="1584504"/>
                    </a:moveTo>
                    <a:cubicBezTo>
                      <a:pt x="1451199" y="1584504"/>
                      <a:pt x="1439769" y="1583551"/>
                      <a:pt x="1428339" y="1580694"/>
                    </a:cubicBezTo>
                    <a:lnTo>
                      <a:pt x="127224" y="1304469"/>
                    </a:lnTo>
                    <a:cubicBezTo>
                      <a:pt x="71027" y="1292086"/>
                      <a:pt x="26259" y="1252081"/>
                      <a:pt x="8162" y="1197789"/>
                    </a:cubicBezTo>
                    <a:cubicBezTo>
                      <a:pt x="-9936" y="1142544"/>
                      <a:pt x="2447" y="1084441"/>
                      <a:pt x="41499" y="1041579"/>
                    </a:cubicBezTo>
                    <a:lnTo>
                      <a:pt x="932087" y="52884"/>
                    </a:lnTo>
                    <a:cubicBezTo>
                      <a:pt x="971139" y="10021"/>
                      <a:pt x="1027337" y="-8076"/>
                      <a:pt x="1084487" y="3354"/>
                    </a:cubicBezTo>
                    <a:cubicBezTo>
                      <a:pt x="1140684" y="15736"/>
                      <a:pt x="1185452" y="55741"/>
                      <a:pt x="1203549" y="110034"/>
                    </a:cubicBezTo>
                    <a:lnTo>
                      <a:pt x="1615029" y="1374954"/>
                    </a:lnTo>
                    <a:cubicBezTo>
                      <a:pt x="1633127" y="1430199"/>
                      <a:pt x="1620744" y="1488301"/>
                      <a:pt x="1581692" y="1531164"/>
                    </a:cubicBezTo>
                    <a:cubicBezTo>
                      <a:pt x="1549307" y="1566406"/>
                      <a:pt x="1507397" y="1584504"/>
                      <a:pt x="1462629" y="1584504"/>
                    </a:cubicBezTo>
                    <a:close/>
                    <a:moveTo>
                      <a:pt x="1050197" y="5259"/>
                    </a:moveTo>
                    <a:cubicBezTo>
                      <a:pt x="1007334" y="5259"/>
                      <a:pt x="966377" y="23356"/>
                      <a:pt x="935897" y="56694"/>
                    </a:cubicBezTo>
                    <a:lnTo>
                      <a:pt x="45309" y="1044436"/>
                    </a:lnTo>
                    <a:cubicBezTo>
                      <a:pt x="8162" y="1086346"/>
                      <a:pt x="-4221" y="1142544"/>
                      <a:pt x="12924" y="1194931"/>
                    </a:cubicBezTo>
                    <a:cubicBezTo>
                      <a:pt x="30069" y="1248271"/>
                      <a:pt x="72932" y="1286371"/>
                      <a:pt x="127224" y="1297801"/>
                    </a:cubicBezTo>
                    <a:lnTo>
                      <a:pt x="1428339" y="1574026"/>
                    </a:lnTo>
                    <a:cubicBezTo>
                      <a:pt x="1482632" y="1585456"/>
                      <a:pt x="1537877" y="1567359"/>
                      <a:pt x="1575024" y="1526401"/>
                    </a:cubicBezTo>
                    <a:cubicBezTo>
                      <a:pt x="1612172" y="1484491"/>
                      <a:pt x="1624554" y="1428294"/>
                      <a:pt x="1607409" y="1375906"/>
                    </a:cubicBezTo>
                    <a:lnTo>
                      <a:pt x="1197834" y="111939"/>
                    </a:lnTo>
                    <a:cubicBezTo>
                      <a:pt x="1180689" y="58599"/>
                      <a:pt x="1137827" y="20499"/>
                      <a:pt x="1083534" y="9069"/>
                    </a:cubicBezTo>
                    <a:cubicBezTo>
                      <a:pt x="1072104" y="6211"/>
                      <a:pt x="1060674" y="5259"/>
                      <a:pt x="1050197" y="5259"/>
                    </a:cubicBezTo>
                    <a:close/>
                  </a:path>
                </a:pathLst>
              </a:custGeom>
              <a:grpFill/>
              <a:ln w="9525" cap="flat">
                <a:noFill/>
                <a:prstDash val="solid"/>
                <a:miter/>
              </a:ln>
            </p:spPr>
            <p:txBody>
              <a:bodyPr rtlCol="0" anchor="ctr"/>
              <a:lstStyle/>
              <a:p>
                <a:endParaRPr lang="en-US" sz="1730"/>
              </a:p>
            </p:txBody>
          </p:sp>
          <p:sp>
            <p:nvSpPr>
              <p:cNvPr id="60" name="Freeform: Shape 59">
                <a:extLst>
                  <a:ext uri="{FF2B5EF4-FFF2-40B4-BE49-F238E27FC236}">
                    <a16:creationId xmlns:a16="http://schemas.microsoft.com/office/drawing/2014/main" id="{76CB3FBA-91B0-4DCE-AC92-F9A18FF4D65A}"/>
                  </a:ext>
                </a:extLst>
              </p:cNvPr>
              <p:cNvSpPr/>
              <p:nvPr/>
            </p:nvSpPr>
            <p:spPr>
              <a:xfrm>
                <a:off x="5197133" y="2512353"/>
                <a:ext cx="1483088" cy="1650706"/>
              </a:xfrm>
              <a:custGeom>
                <a:avLst/>
                <a:gdLst>
                  <a:gd name="connsiteX0" fmla="*/ 1300186 w 1483088"/>
                  <a:gd name="connsiteY0" fmla="*/ 1650706 h 1650706"/>
                  <a:gd name="connsiteX1" fmla="*/ 1218271 w 1483088"/>
                  <a:gd name="connsiteY1" fmla="*/ 1627846 h 1650706"/>
                  <a:gd name="connsiteX2" fmla="*/ 77176 w 1483088"/>
                  <a:gd name="connsiteY2" fmla="*/ 942046 h 1650706"/>
                  <a:gd name="connsiteX3" fmla="*/ 23 w 1483088"/>
                  <a:gd name="connsiteY3" fmla="*/ 802029 h 1650706"/>
                  <a:gd name="connsiteX4" fmla="*/ 81938 w 1483088"/>
                  <a:gd name="connsiteY4" fmla="*/ 664869 h 1650706"/>
                  <a:gd name="connsiteX5" fmla="*/ 1245893 w 1483088"/>
                  <a:gd name="connsiteY5" fmla="*/ 20026 h 1650706"/>
                  <a:gd name="connsiteX6" fmla="*/ 1405913 w 1483088"/>
                  <a:gd name="connsiteY6" fmla="*/ 22884 h 1650706"/>
                  <a:gd name="connsiteX7" fmla="*/ 1483066 w 1483088"/>
                  <a:gd name="connsiteY7" fmla="*/ 162901 h 1650706"/>
                  <a:gd name="connsiteX8" fmla="*/ 1460206 w 1483088"/>
                  <a:gd name="connsiteY8" fmla="*/ 1493544 h 1650706"/>
                  <a:gd name="connsiteX9" fmla="*/ 1378291 w 1483088"/>
                  <a:gd name="connsiteY9" fmla="*/ 1630704 h 1650706"/>
                  <a:gd name="connsiteX10" fmla="*/ 1300186 w 1483088"/>
                  <a:gd name="connsiteY10" fmla="*/ 1650706 h 1650706"/>
                  <a:gd name="connsiteX11" fmla="*/ 1323046 w 1483088"/>
                  <a:gd name="connsiteY11" fmla="*/ 5739 h 1650706"/>
                  <a:gd name="connsiteX12" fmla="*/ 1247798 w 1483088"/>
                  <a:gd name="connsiteY12" fmla="*/ 25741 h 1650706"/>
                  <a:gd name="connsiteX13" fmla="*/ 84796 w 1483088"/>
                  <a:gd name="connsiteY13" fmla="*/ 669631 h 1650706"/>
                  <a:gd name="connsiteX14" fmla="*/ 5738 w 1483088"/>
                  <a:gd name="connsiteY14" fmla="*/ 802029 h 1650706"/>
                  <a:gd name="connsiteX15" fmla="*/ 80033 w 1483088"/>
                  <a:gd name="connsiteY15" fmla="*/ 937284 h 1650706"/>
                  <a:gd name="connsiteX16" fmla="*/ 1220176 w 1483088"/>
                  <a:gd name="connsiteY16" fmla="*/ 1622131 h 1650706"/>
                  <a:gd name="connsiteX17" fmla="*/ 1374481 w 1483088"/>
                  <a:gd name="connsiteY17" fmla="*/ 1624989 h 1650706"/>
                  <a:gd name="connsiteX18" fmla="*/ 1453538 w 1483088"/>
                  <a:gd name="connsiteY18" fmla="*/ 1492591 h 1650706"/>
                  <a:gd name="connsiteX19" fmla="*/ 1456396 w 1483088"/>
                  <a:gd name="connsiteY19" fmla="*/ 1492591 h 1650706"/>
                  <a:gd name="connsiteX20" fmla="*/ 1453538 w 1483088"/>
                  <a:gd name="connsiteY20" fmla="*/ 1492591 h 1650706"/>
                  <a:gd name="connsiteX21" fmla="*/ 1476398 w 1483088"/>
                  <a:gd name="connsiteY21" fmla="*/ 161949 h 1650706"/>
                  <a:gd name="connsiteX22" fmla="*/ 1401151 w 1483088"/>
                  <a:gd name="connsiteY22" fmla="*/ 26694 h 1650706"/>
                  <a:gd name="connsiteX23" fmla="*/ 1323046 w 1483088"/>
                  <a:gd name="connsiteY23" fmla="*/ 5739 h 16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3088" h="1650706">
                    <a:moveTo>
                      <a:pt x="1300186" y="1650706"/>
                    </a:moveTo>
                    <a:cubicBezTo>
                      <a:pt x="1271611" y="1650706"/>
                      <a:pt x="1243036" y="1643086"/>
                      <a:pt x="1218271" y="1627846"/>
                    </a:cubicBezTo>
                    <a:lnTo>
                      <a:pt x="77176" y="942046"/>
                    </a:lnTo>
                    <a:cubicBezTo>
                      <a:pt x="27646" y="912519"/>
                      <a:pt x="-929" y="860131"/>
                      <a:pt x="23" y="802029"/>
                    </a:cubicBezTo>
                    <a:cubicBezTo>
                      <a:pt x="976" y="743926"/>
                      <a:pt x="31456" y="693444"/>
                      <a:pt x="81938" y="664869"/>
                    </a:cubicBezTo>
                    <a:lnTo>
                      <a:pt x="1245893" y="20026"/>
                    </a:lnTo>
                    <a:cubicBezTo>
                      <a:pt x="1296376" y="-7596"/>
                      <a:pt x="1356383" y="-6644"/>
                      <a:pt x="1405913" y="22884"/>
                    </a:cubicBezTo>
                    <a:cubicBezTo>
                      <a:pt x="1455443" y="52411"/>
                      <a:pt x="1484018" y="104799"/>
                      <a:pt x="1483066" y="162901"/>
                    </a:cubicBezTo>
                    <a:lnTo>
                      <a:pt x="1460206" y="1493544"/>
                    </a:lnTo>
                    <a:cubicBezTo>
                      <a:pt x="1459253" y="1551646"/>
                      <a:pt x="1428773" y="1602129"/>
                      <a:pt x="1378291" y="1630704"/>
                    </a:cubicBezTo>
                    <a:cubicBezTo>
                      <a:pt x="1353526" y="1644039"/>
                      <a:pt x="1326856" y="1650706"/>
                      <a:pt x="1300186" y="1650706"/>
                    </a:cubicBezTo>
                    <a:close/>
                    <a:moveTo>
                      <a:pt x="1323046" y="5739"/>
                    </a:moveTo>
                    <a:cubicBezTo>
                      <a:pt x="1297328" y="5739"/>
                      <a:pt x="1271611" y="12406"/>
                      <a:pt x="1247798" y="25741"/>
                    </a:cubicBezTo>
                    <a:lnTo>
                      <a:pt x="84796" y="669631"/>
                    </a:lnTo>
                    <a:cubicBezTo>
                      <a:pt x="36218" y="696301"/>
                      <a:pt x="6691" y="745831"/>
                      <a:pt x="5738" y="802029"/>
                    </a:cubicBezTo>
                    <a:cubicBezTo>
                      <a:pt x="4786" y="858226"/>
                      <a:pt x="32408" y="908709"/>
                      <a:pt x="80033" y="937284"/>
                    </a:cubicBezTo>
                    <a:lnTo>
                      <a:pt x="1220176" y="1622131"/>
                    </a:lnTo>
                    <a:cubicBezTo>
                      <a:pt x="1267801" y="1650706"/>
                      <a:pt x="1325903" y="1651659"/>
                      <a:pt x="1374481" y="1624989"/>
                    </a:cubicBezTo>
                    <a:cubicBezTo>
                      <a:pt x="1423058" y="1598319"/>
                      <a:pt x="1452586" y="1548789"/>
                      <a:pt x="1453538" y="1492591"/>
                    </a:cubicBezTo>
                    <a:lnTo>
                      <a:pt x="1456396" y="1492591"/>
                    </a:lnTo>
                    <a:lnTo>
                      <a:pt x="1453538" y="1492591"/>
                    </a:lnTo>
                    <a:lnTo>
                      <a:pt x="1476398" y="161949"/>
                    </a:lnTo>
                    <a:cubicBezTo>
                      <a:pt x="1477351" y="105751"/>
                      <a:pt x="1449728" y="55269"/>
                      <a:pt x="1401151" y="26694"/>
                    </a:cubicBezTo>
                    <a:cubicBezTo>
                      <a:pt x="1378291" y="13359"/>
                      <a:pt x="1350668" y="5739"/>
                      <a:pt x="1323046" y="5739"/>
                    </a:cubicBezTo>
                    <a:close/>
                  </a:path>
                </a:pathLst>
              </a:custGeom>
              <a:grpFill/>
              <a:ln w="9525" cap="flat">
                <a:noFill/>
                <a:prstDash val="solid"/>
                <a:miter/>
              </a:ln>
            </p:spPr>
            <p:txBody>
              <a:bodyPr rtlCol="0" anchor="ctr"/>
              <a:lstStyle/>
              <a:p>
                <a:endParaRPr lang="en-US" sz="1730"/>
              </a:p>
            </p:txBody>
          </p:sp>
          <p:sp>
            <p:nvSpPr>
              <p:cNvPr id="61" name="Freeform: Shape 60">
                <a:extLst>
                  <a:ext uri="{FF2B5EF4-FFF2-40B4-BE49-F238E27FC236}">
                    <a16:creationId xmlns:a16="http://schemas.microsoft.com/office/drawing/2014/main" id="{22045ED4-534F-4B15-8795-D2C7547978FE}"/>
                  </a:ext>
                </a:extLst>
              </p:cNvPr>
              <p:cNvSpPr/>
              <p:nvPr/>
            </p:nvSpPr>
            <p:spPr>
              <a:xfrm>
                <a:off x="5302425" y="2655449"/>
                <a:ext cx="1631597" cy="1570475"/>
              </a:xfrm>
              <a:custGeom>
                <a:avLst/>
                <a:gdLst>
                  <a:gd name="connsiteX0" fmla="*/ 1014871 w 1631597"/>
                  <a:gd name="connsiteY0" fmla="*/ 1570476 h 1570475"/>
                  <a:gd name="connsiteX1" fmla="*/ 892951 w 1631597"/>
                  <a:gd name="connsiteY1" fmla="*/ 1513326 h 1570475"/>
                  <a:gd name="connsiteX2" fmla="*/ 37606 w 1631597"/>
                  <a:gd name="connsiteY2" fmla="*/ 494151 h 1570475"/>
                  <a:gd name="connsiteX3" fmla="*/ 9984 w 1631597"/>
                  <a:gd name="connsiteY3" fmla="*/ 336988 h 1570475"/>
                  <a:gd name="connsiteX4" fmla="*/ 132856 w 1631597"/>
                  <a:gd name="connsiteY4" fmla="*/ 234118 h 1570475"/>
                  <a:gd name="connsiteX5" fmla="*/ 1443496 w 1631597"/>
                  <a:gd name="connsiteY5" fmla="*/ 2660 h 1570475"/>
                  <a:gd name="connsiteX6" fmla="*/ 1593991 w 1631597"/>
                  <a:gd name="connsiteY6" fmla="*/ 56953 h 1570475"/>
                  <a:gd name="connsiteX7" fmla="*/ 1621614 w 1631597"/>
                  <a:gd name="connsiteY7" fmla="*/ 214115 h 1570475"/>
                  <a:gd name="connsiteX8" fmla="*/ 1166319 w 1631597"/>
                  <a:gd name="connsiteY8" fmla="*/ 1464748 h 1570475"/>
                  <a:gd name="connsiteX9" fmla="*/ 1043446 w 1631597"/>
                  <a:gd name="connsiteY9" fmla="*/ 1567618 h 1570475"/>
                  <a:gd name="connsiteX10" fmla="*/ 1014871 w 1631597"/>
                  <a:gd name="connsiteY10" fmla="*/ 1570476 h 1570475"/>
                  <a:gd name="connsiteX11" fmla="*/ 1471119 w 1631597"/>
                  <a:gd name="connsiteY11" fmla="*/ 6470 h 1570475"/>
                  <a:gd name="connsiteX12" fmla="*/ 1443496 w 1631597"/>
                  <a:gd name="connsiteY12" fmla="*/ 9328 h 1570475"/>
                  <a:gd name="connsiteX13" fmla="*/ 133809 w 1631597"/>
                  <a:gd name="connsiteY13" fmla="*/ 239833 h 1570475"/>
                  <a:gd name="connsiteX14" fmla="*/ 15699 w 1631597"/>
                  <a:gd name="connsiteY14" fmla="*/ 338893 h 1570475"/>
                  <a:gd name="connsiteX15" fmla="*/ 42369 w 1631597"/>
                  <a:gd name="connsiteY15" fmla="*/ 491293 h 1570475"/>
                  <a:gd name="connsiteX16" fmla="*/ 897714 w 1631597"/>
                  <a:gd name="connsiteY16" fmla="*/ 1510468 h 1570475"/>
                  <a:gd name="connsiteX17" fmla="*/ 1042494 w 1631597"/>
                  <a:gd name="connsiteY17" fmla="*/ 1562856 h 1570475"/>
                  <a:gd name="connsiteX18" fmla="*/ 1160604 w 1631597"/>
                  <a:gd name="connsiteY18" fmla="*/ 1463796 h 1570475"/>
                  <a:gd name="connsiteX19" fmla="*/ 1163461 w 1631597"/>
                  <a:gd name="connsiteY19" fmla="*/ 1464748 h 1570475"/>
                  <a:gd name="connsiteX20" fmla="*/ 1160604 w 1631597"/>
                  <a:gd name="connsiteY20" fmla="*/ 1463796 h 1570475"/>
                  <a:gd name="connsiteX21" fmla="*/ 1615899 w 1631597"/>
                  <a:gd name="connsiteY21" fmla="*/ 213163 h 1570475"/>
                  <a:gd name="connsiteX22" fmla="*/ 1589229 w 1631597"/>
                  <a:gd name="connsiteY22" fmla="*/ 60763 h 1570475"/>
                  <a:gd name="connsiteX23" fmla="*/ 1471119 w 1631597"/>
                  <a:gd name="connsiteY23" fmla="*/ 6470 h 157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1597" h="1570475">
                    <a:moveTo>
                      <a:pt x="1014871" y="1570476"/>
                    </a:moveTo>
                    <a:cubicBezTo>
                      <a:pt x="968199" y="1570476"/>
                      <a:pt x="924384" y="1550473"/>
                      <a:pt x="892951" y="1513326"/>
                    </a:cubicBezTo>
                    <a:lnTo>
                      <a:pt x="37606" y="494151"/>
                    </a:lnTo>
                    <a:cubicBezTo>
                      <a:pt x="459" y="450336"/>
                      <a:pt x="-10019" y="391281"/>
                      <a:pt x="9984" y="336988"/>
                    </a:cubicBezTo>
                    <a:cubicBezTo>
                      <a:pt x="29986" y="282695"/>
                      <a:pt x="75706" y="244595"/>
                      <a:pt x="132856" y="234118"/>
                    </a:cubicBezTo>
                    <a:lnTo>
                      <a:pt x="1443496" y="2660"/>
                    </a:lnTo>
                    <a:cubicBezTo>
                      <a:pt x="1500646" y="-7817"/>
                      <a:pt x="1556844" y="13138"/>
                      <a:pt x="1593991" y="56953"/>
                    </a:cubicBezTo>
                    <a:cubicBezTo>
                      <a:pt x="1631139" y="100768"/>
                      <a:pt x="1641616" y="159823"/>
                      <a:pt x="1621614" y="214115"/>
                    </a:cubicBezTo>
                    <a:lnTo>
                      <a:pt x="1166319" y="1464748"/>
                    </a:lnTo>
                    <a:cubicBezTo>
                      <a:pt x="1146316" y="1519041"/>
                      <a:pt x="1100596" y="1557141"/>
                      <a:pt x="1043446" y="1567618"/>
                    </a:cubicBezTo>
                    <a:cubicBezTo>
                      <a:pt x="1033921" y="1569523"/>
                      <a:pt x="1024396" y="1570476"/>
                      <a:pt x="1014871" y="1570476"/>
                    </a:cubicBezTo>
                    <a:close/>
                    <a:moveTo>
                      <a:pt x="1471119" y="6470"/>
                    </a:moveTo>
                    <a:cubicBezTo>
                      <a:pt x="1461594" y="6470"/>
                      <a:pt x="1453021" y="7423"/>
                      <a:pt x="1443496" y="9328"/>
                    </a:cubicBezTo>
                    <a:lnTo>
                      <a:pt x="133809" y="239833"/>
                    </a:lnTo>
                    <a:cubicBezTo>
                      <a:pt x="78564" y="249358"/>
                      <a:pt x="34749" y="286506"/>
                      <a:pt x="15699" y="338893"/>
                    </a:cubicBezTo>
                    <a:cubicBezTo>
                      <a:pt x="-3351" y="391281"/>
                      <a:pt x="6174" y="448430"/>
                      <a:pt x="42369" y="491293"/>
                    </a:cubicBezTo>
                    <a:lnTo>
                      <a:pt x="897714" y="1510468"/>
                    </a:lnTo>
                    <a:cubicBezTo>
                      <a:pt x="933909" y="1553331"/>
                      <a:pt x="988201" y="1573333"/>
                      <a:pt x="1042494" y="1562856"/>
                    </a:cubicBezTo>
                    <a:cubicBezTo>
                      <a:pt x="1097739" y="1553331"/>
                      <a:pt x="1141554" y="1516183"/>
                      <a:pt x="1160604" y="1463796"/>
                    </a:cubicBezTo>
                    <a:lnTo>
                      <a:pt x="1163461" y="1464748"/>
                    </a:lnTo>
                    <a:lnTo>
                      <a:pt x="1160604" y="1463796"/>
                    </a:lnTo>
                    <a:lnTo>
                      <a:pt x="1615899" y="213163"/>
                    </a:lnTo>
                    <a:cubicBezTo>
                      <a:pt x="1634949" y="160775"/>
                      <a:pt x="1625424" y="103625"/>
                      <a:pt x="1589229" y="60763"/>
                    </a:cubicBezTo>
                    <a:cubicBezTo>
                      <a:pt x="1558749" y="25520"/>
                      <a:pt x="1515886" y="6470"/>
                      <a:pt x="1471119" y="6470"/>
                    </a:cubicBezTo>
                    <a:close/>
                  </a:path>
                </a:pathLst>
              </a:custGeom>
              <a:grpFill/>
              <a:ln w="9525" cap="flat">
                <a:noFill/>
                <a:prstDash val="solid"/>
                <a:miter/>
              </a:ln>
            </p:spPr>
            <p:txBody>
              <a:bodyPr rtlCol="0" anchor="ctr"/>
              <a:lstStyle/>
              <a:p>
                <a:endParaRPr lang="en-US" sz="1730"/>
              </a:p>
            </p:txBody>
          </p:sp>
          <p:sp>
            <p:nvSpPr>
              <p:cNvPr id="62" name="Freeform: Shape 61">
                <a:extLst>
                  <a:ext uri="{FF2B5EF4-FFF2-40B4-BE49-F238E27FC236}">
                    <a16:creationId xmlns:a16="http://schemas.microsoft.com/office/drawing/2014/main" id="{FEE68F87-0B6B-4885-866B-61423AE3724E}"/>
                  </a:ext>
                </a:extLst>
              </p:cNvPr>
              <p:cNvSpPr/>
              <p:nvPr/>
            </p:nvSpPr>
            <p:spPr>
              <a:xfrm>
                <a:off x="5490992" y="2665438"/>
                <a:ext cx="1634512" cy="1562390"/>
              </a:xfrm>
              <a:custGeom>
                <a:avLst/>
                <a:gdLst>
                  <a:gd name="connsiteX0" fmla="*/ 637710 w 1634512"/>
                  <a:gd name="connsiteY0" fmla="*/ 1562391 h 1562390"/>
                  <a:gd name="connsiteX1" fmla="*/ 611992 w 1634512"/>
                  <a:gd name="connsiteY1" fmla="*/ 1560486 h 1562390"/>
                  <a:gd name="connsiteX2" fmla="*/ 488167 w 1634512"/>
                  <a:gd name="connsiteY2" fmla="*/ 1459521 h 1562390"/>
                  <a:gd name="connsiteX3" fmla="*/ 10965 w 1634512"/>
                  <a:gd name="connsiteY3" fmla="*/ 217461 h 1562390"/>
                  <a:gd name="connsiteX4" fmla="*/ 35730 w 1634512"/>
                  <a:gd name="connsiteY4" fmla="*/ 59346 h 1562390"/>
                  <a:gd name="connsiteX5" fmla="*/ 185272 w 1634512"/>
                  <a:gd name="connsiteY5" fmla="*/ 2196 h 1562390"/>
                  <a:gd name="connsiteX6" fmla="*/ 1499723 w 1634512"/>
                  <a:gd name="connsiteY6" fmla="*/ 209841 h 1562390"/>
                  <a:gd name="connsiteX7" fmla="*/ 1623548 w 1634512"/>
                  <a:gd name="connsiteY7" fmla="*/ 310806 h 1562390"/>
                  <a:gd name="connsiteX8" fmla="*/ 1598782 w 1634512"/>
                  <a:gd name="connsiteY8" fmla="*/ 468921 h 1562390"/>
                  <a:gd name="connsiteX9" fmla="*/ 761535 w 1634512"/>
                  <a:gd name="connsiteY9" fmla="*/ 1502383 h 1562390"/>
                  <a:gd name="connsiteX10" fmla="*/ 759630 w 1634512"/>
                  <a:gd name="connsiteY10" fmla="*/ 1500478 h 1562390"/>
                  <a:gd name="connsiteX11" fmla="*/ 761535 w 1634512"/>
                  <a:gd name="connsiteY11" fmla="*/ 1502383 h 1562390"/>
                  <a:gd name="connsiteX12" fmla="*/ 637710 w 1634512"/>
                  <a:gd name="connsiteY12" fmla="*/ 1562391 h 1562390"/>
                  <a:gd name="connsiteX13" fmla="*/ 159555 w 1634512"/>
                  <a:gd name="connsiteY13" fmla="*/ 6006 h 1562390"/>
                  <a:gd name="connsiteX14" fmla="*/ 40492 w 1634512"/>
                  <a:gd name="connsiteY14" fmla="*/ 63156 h 1562390"/>
                  <a:gd name="connsiteX15" fmla="*/ 16680 w 1634512"/>
                  <a:gd name="connsiteY15" fmla="*/ 215556 h 1562390"/>
                  <a:gd name="connsiteX16" fmla="*/ 493882 w 1634512"/>
                  <a:gd name="connsiteY16" fmla="*/ 1457616 h 1562390"/>
                  <a:gd name="connsiteX17" fmla="*/ 613897 w 1634512"/>
                  <a:gd name="connsiteY17" fmla="*/ 1554771 h 1562390"/>
                  <a:gd name="connsiteX18" fmla="*/ 757725 w 1634512"/>
                  <a:gd name="connsiteY18" fmla="*/ 1499526 h 1562390"/>
                  <a:gd name="connsiteX19" fmla="*/ 1594020 w 1634512"/>
                  <a:gd name="connsiteY19" fmla="*/ 465111 h 1562390"/>
                  <a:gd name="connsiteX20" fmla="*/ 1617832 w 1634512"/>
                  <a:gd name="connsiteY20" fmla="*/ 312711 h 1562390"/>
                  <a:gd name="connsiteX21" fmla="*/ 1497817 w 1634512"/>
                  <a:gd name="connsiteY21" fmla="*/ 215556 h 1562390"/>
                  <a:gd name="connsiteX22" fmla="*/ 184320 w 1634512"/>
                  <a:gd name="connsiteY22" fmla="*/ 7911 h 1562390"/>
                  <a:gd name="connsiteX23" fmla="*/ 159555 w 1634512"/>
                  <a:gd name="connsiteY23" fmla="*/ 6006 h 156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4512" h="1562390">
                    <a:moveTo>
                      <a:pt x="637710" y="1562391"/>
                    </a:moveTo>
                    <a:cubicBezTo>
                      <a:pt x="629137" y="1562391"/>
                      <a:pt x="620565" y="1561438"/>
                      <a:pt x="611992" y="1560486"/>
                    </a:cubicBezTo>
                    <a:cubicBezTo>
                      <a:pt x="554842" y="1551913"/>
                      <a:pt x="508170" y="1513813"/>
                      <a:pt x="488167" y="1459521"/>
                    </a:cubicBezTo>
                    <a:lnTo>
                      <a:pt x="10965" y="217461"/>
                    </a:lnTo>
                    <a:cubicBezTo>
                      <a:pt x="-9990" y="163168"/>
                      <a:pt x="-465" y="104113"/>
                      <a:pt x="35730" y="59346"/>
                    </a:cubicBezTo>
                    <a:cubicBezTo>
                      <a:pt x="71925" y="14578"/>
                      <a:pt x="128122" y="-7329"/>
                      <a:pt x="185272" y="2196"/>
                    </a:cubicBezTo>
                    <a:lnTo>
                      <a:pt x="1499723" y="209841"/>
                    </a:lnTo>
                    <a:cubicBezTo>
                      <a:pt x="1556873" y="218413"/>
                      <a:pt x="1603545" y="256513"/>
                      <a:pt x="1623548" y="310806"/>
                    </a:cubicBezTo>
                    <a:cubicBezTo>
                      <a:pt x="1644502" y="365098"/>
                      <a:pt x="1634977" y="424153"/>
                      <a:pt x="1598782" y="468921"/>
                    </a:cubicBezTo>
                    <a:lnTo>
                      <a:pt x="761535" y="1502383"/>
                    </a:lnTo>
                    <a:lnTo>
                      <a:pt x="759630" y="1500478"/>
                    </a:lnTo>
                    <a:lnTo>
                      <a:pt x="761535" y="1502383"/>
                    </a:lnTo>
                    <a:cubicBezTo>
                      <a:pt x="730102" y="1541436"/>
                      <a:pt x="685335" y="1562391"/>
                      <a:pt x="637710" y="1562391"/>
                    </a:cubicBezTo>
                    <a:close/>
                    <a:moveTo>
                      <a:pt x="159555" y="6006"/>
                    </a:moveTo>
                    <a:cubicBezTo>
                      <a:pt x="113835" y="6006"/>
                      <a:pt x="70020" y="26008"/>
                      <a:pt x="40492" y="63156"/>
                    </a:cubicBezTo>
                    <a:cubicBezTo>
                      <a:pt x="5250" y="106971"/>
                      <a:pt x="-3323" y="163168"/>
                      <a:pt x="16680" y="215556"/>
                    </a:cubicBezTo>
                    <a:lnTo>
                      <a:pt x="493882" y="1457616"/>
                    </a:lnTo>
                    <a:cubicBezTo>
                      <a:pt x="513885" y="1510003"/>
                      <a:pt x="558652" y="1546198"/>
                      <a:pt x="613897" y="1554771"/>
                    </a:cubicBezTo>
                    <a:cubicBezTo>
                      <a:pt x="669142" y="1563343"/>
                      <a:pt x="722482" y="1542388"/>
                      <a:pt x="757725" y="1499526"/>
                    </a:cubicBezTo>
                    <a:lnTo>
                      <a:pt x="1594020" y="465111"/>
                    </a:lnTo>
                    <a:cubicBezTo>
                      <a:pt x="1629262" y="421296"/>
                      <a:pt x="1637835" y="365098"/>
                      <a:pt x="1617832" y="312711"/>
                    </a:cubicBezTo>
                    <a:cubicBezTo>
                      <a:pt x="1597830" y="260323"/>
                      <a:pt x="1553062" y="224128"/>
                      <a:pt x="1497817" y="215556"/>
                    </a:cubicBezTo>
                    <a:lnTo>
                      <a:pt x="184320" y="7911"/>
                    </a:lnTo>
                    <a:cubicBezTo>
                      <a:pt x="175747" y="6958"/>
                      <a:pt x="167175" y="6006"/>
                      <a:pt x="159555" y="6006"/>
                    </a:cubicBezTo>
                    <a:close/>
                  </a:path>
                </a:pathLst>
              </a:custGeom>
              <a:grpFill/>
              <a:ln w="9525" cap="flat">
                <a:noFill/>
                <a:prstDash val="solid"/>
                <a:miter/>
              </a:ln>
            </p:spPr>
            <p:txBody>
              <a:bodyPr rtlCol="0" anchor="ctr"/>
              <a:lstStyle/>
              <a:p>
                <a:endParaRPr lang="en-US" sz="1730"/>
              </a:p>
            </p:txBody>
          </p:sp>
          <p:sp>
            <p:nvSpPr>
              <p:cNvPr id="63" name="Freeform: Shape 62">
                <a:extLst>
                  <a:ext uri="{FF2B5EF4-FFF2-40B4-BE49-F238E27FC236}">
                    <a16:creationId xmlns:a16="http://schemas.microsoft.com/office/drawing/2014/main" id="{E99B4F58-0E6C-41DE-99A2-C3FCE7F11DB0}"/>
                  </a:ext>
                </a:extLst>
              </p:cNvPr>
              <p:cNvSpPr/>
              <p:nvPr/>
            </p:nvSpPr>
            <p:spPr>
              <a:xfrm>
                <a:off x="5740942" y="2518472"/>
                <a:ext cx="1494657" cy="1649348"/>
              </a:xfrm>
              <a:custGeom>
                <a:avLst/>
                <a:gdLst>
                  <a:gd name="connsiteX0" fmla="*/ 206785 w 1494657"/>
                  <a:gd name="connsiteY0" fmla="*/ 1649349 h 1649348"/>
                  <a:gd name="connsiteX1" fmla="*/ 131537 w 1494657"/>
                  <a:gd name="connsiteY1" fmla="*/ 1630299 h 1649348"/>
                  <a:gd name="connsiteX2" fmla="*/ 46765 w 1494657"/>
                  <a:gd name="connsiteY2" fmla="*/ 1495044 h 1649348"/>
                  <a:gd name="connsiteX3" fmla="*/ 92 w 1494657"/>
                  <a:gd name="connsiteY3" fmla="*/ 165354 h 1649348"/>
                  <a:gd name="connsiteX4" fmla="*/ 75340 w 1494657"/>
                  <a:gd name="connsiteY4" fmla="*/ 24384 h 1649348"/>
                  <a:gd name="connsiteX5" fmla="*/ 235360 w 1494657"/>
                  <a:gd name="connsiteY5" fmla="*/ 18669 h 1649348"/>
                  <a:gd name="connsiteX6" fmla="*/ 1409792 w 1494657"/>
                  <a:gd name="connsiteY6" fmla="*/ 643509 h 1649348"/>
                  <a:gd name="connsiteX7" fmla="*/ 1494565 w 1494657"/>
                  <a:gd name="connsiteY7" fmla="*/ 778764 h 1649348"/>
                  <a:gd name="connsiteX8" fmla="*/ 1419317 w 1494657"/>
                  <a:gd name="connsiteY8" fmla="*/ 919734 h 1649348"/>
                  <a:gd name="connsiteX9" fmla="*/ 291557 w 1494657"/>
                  <a:gd name="connsiteY9" fmla="*/ 1624584 h 1649348"/>
                  <a:gd name="connsiteX10" fmla="*/ 206785 w 1494657"/>
                  <a:gd name="connsiteY10" fmla="*/ 1649349 h 1649348"/>
                  <a:gd name="connsiteX11" fmla="*/ 160112 w 1494657"/>
                  <a:gd name="connsiteY11" fmla="*/ 4381 h 1649348"/>
                  <a:gd name="connsiteX12" fmla="*/ 78197 w 1494657"/>
                  <a:gd name="connsiteY12" fmla="*/ 28194 h 1649348"/>
                  <a:gd name="connsiteX13" fmla="*/ 5807 w 1494657"/>
                  <a:gd name="connsiteY13" fmla="*/ 164402 h 1649348"/>
                  <a:gd name="connsiteX14" fmla="*/ 52480 w 1494657"/>
                  <a:gd name="connsiteY14" fmla="*/ 1494092 h 1649348"/>
                  <a:gd name="connsiteX15" fmla="*/ 134395 w 1494657"/>
                  <a:gd name="connsiteY15" fmla="*/ 1624584 h 1649348"/>
                  <a:gd name="connsiteX16" fmla="*/ 288700 w 1494657"/>
                  <a:gd name="connsiteY16" fmla="*/ 1618869 h 1649348"/>
                  <a:gd name="connsiteX17" fmla="*/ 290605 w 1494657"/>
                  <a:gd name="connsiteY17" fmla="*/ 1620774 h 1649348"/>
                  <a:gd name="connsiteX18" fmla="*/ 288700 w 1494657"/>
                  <a:gd name="connsiteY18" fmla="*/ 1618869 h 1649348"/>
                  <a:gd name="connsiteX19" fmla="*/ 1416460 w 1494657"/>
                  <a:gd name="connsiteY19" fmla="*/ 914019 h 1649348"/>
                  <a:gd name="connsiteX20" fmla="*/ 1488850 w 1494657"/>
                  <a:gd name="connsiteY20" fmla="*/ 777812 h 1649348"/>
                  <a:gd name="connsiteX21" fmla="*/ 1406935 w 1494657"/>
                  <a:gd name="connsiteY21" fmla="*/ 647319 h 1649348"/>
                  <a:gd name="connsiteX22" fmla="*/ 232502 w 1494657"/>
                  <a:gd name="connsiteY22" fmla="*/ 23431 h 1649348"/>
                  <a:gd name="connsiteX23" fmla="*/ 160112 w 1494657"/>
                  <a:gd name="connsiteY23" fmla="*/ 4381 h 164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4657" h="1649348">
                    <a:moveTo>
                      <a:pt x="206785" y="1649349"/>
                    </a:moveTo>
                    <a:cubicBezTo>
                      <a:pt x="181067" y="1649349"/>
                      <a:pt x="155350" y="1642682"/>
                      <a:pt x="131537" y="1630299"/>
                    </a:cubicBezTo>
                    <a:cubicBezTo>
                      <a:pt x="80102" y="1603629"/>
                      <a:pt x="48670" y="1552194"/>
                      <a:pt x="46765" y="1495044"/>
                    </a:cubicBezTo>
                    <a:lnTo>
                      <a:pt x="92" y="165354"/>
                    </a:lnTo>
                    <a:cubicBezTo>
                      <a:pt x="-1813" y="107252"/>
                      <a:pt x="25810" y="54864"/>
                      <a:pt x="75340" y="24384"/>
                    </a:cubicBezTo>
                    <a:cubicBezTo>
                      <a:pt x="123917" y="-6096"/>
                      <a:pt x="183925" y="-8001"/>
                      <a:pt x="235360" y="18669"/>
                    </a:cubicBezTo>
                    <a:lnTo>
                      <a:pt x="1409792" y="643509"/>
                    </a:lnTo>
                    <a:cubicBezTo>
                      <a:pt x="1461228" y="670179"/>
                      <a:pt x="1492660" y="721614"/>
                      <a:pt x="1494565" y="778764"/>
                    </a:cubicBezTo>
                    <a:cubicBezTo>
                      <a:pt x="1496470" y="836867"/>
                      <a:pt x="1468848" y="889254"/>
                      <a:pt x="1419317" y="919734"/>
                    </a:cubicBezTo>
                    <a:lnTo>
                      <a:pt x="291557" y="1624584"/>
                    </a:lnTo>
                    <a:cubicBezTo>
                      <a:pt x="264887" y="1640777"/>
                      <a:pt x="236312" y="1649349"/>
                      <a:pt x="206785" y="1649349"/>
                    </a:cubicBezTo>
                    <a:close/>
                    <a:moveTo>
                      <a:pt x="160112" y="4381"/>
                    </a:moveTo>
                    <a:cubicBezTo>
                      <a:pt x="131537" y="4381"/>
                      <a:pt x="103915" y="12002"/>
                      <a:pt x="78197" y="28194"/>
                    </a:cubicBezTo>
                    <a:cubicBezTo>
                      <a:pt x="30572" y="57722"/>
                      <a:pt x="3902" y="109157"/>
                      <a:pt x="5807" y="164402"/>
                    </a:cubicBezTo>
                    <a:lnTo>
                      <a:pt x="52480" y="1494092"/>
                    </a:lnTo>
                    <a:cubicBezTo>
                      <a:pt x="54385" y="1550289"/>
                      <a:pt x="84865" y="1598867"/>
                      <a:pt x="134395" y="1624584"/>
                    </a:cubicBezTo>
                    <a:cubicBezTo>
                      <a:pt x="183925" y="1651254"/>
                      <a:pt x="241075" y="1648397"/>
                      <a:pt x="288700" y="1618869"/>
                    </a:cubicBezTo>
                    <a:lnTo>
                      <a:pt x="290605" y="1620774"/>
                    </a:lnTo>
                    <a:lnTo>
                      <a:pt x="288700" y="1618869"/>
                    </a:lnTo>
                    <a:lnTo>
                      <a:pt x="1416460" y="914019"/>
                    </a:lnTo>
                    <a:cubicBezTo>
                      <a:pt x="1464085" y="884492"/>
                      <a:pt x="1490755" y="833057"/>
                      <a:pt x="1488850" y="777812"/>
                    </a:cubicBezTo>
                    <a:cubicBezTo>
                      <a:pt x="1486945" y="721614"/>
                      <a:pt x="1456465" y="673037"/>
                      <a:pt x="1406935" y="647319"/>
                    </a:cubicBezTo>
                    <a:lnTo>
                      <a:pt x="232502" y="23431"/>
                    </a:lnTo>
                    <a:cubicBezTo>
                      <a:pt x="209642" y="11049"/>
                      <a:pt x="184877" y="4381"/>
                      <a:pt x="160112" y="4381"/>
                    </a:cubicBezTo>
                    <a:close/>
                  </a:path>
                </a:pathLst>
              </a:custGeom>
              <a:grpFill/>
              <a:ln w="9525" cap="flat">
                <a:noFill/>
                <a:prstDash val="solid"/>
                <a:miter/>
              </a:ln>
            </p:spPr>
            <p:txBody>
              <a:bodyPr rtlCol="0" anchor="ctr"/>
              <a:lstStyle/>
              <a:p>
                <a:endParaRPr lang="en-US" sz="1730"/>
              </a:p>
            </p:txBody>
          </p:sp>
          <p:sp>
            <p:nvSpPr>
              <p:cNvPr id="64" name="Freeform: Shape 63">
                <a:extLst>
                  <a:ext uri="{FF2B5EF4-FFF2-40B4-BE49-F238E27FC236}">
                    <a16:creationId xmlns:a16="http://schemas.microsoft.com/office/drawing/2014/main" id="{98213603-4044-4EDC-B3E0-CE20E3EE9BC2}"/>
                  </a:ext>
                </a:extLst>
              </p:cNvPr>
              <p:cNvSpPr/>
              <p:nvPr/>
            </p:nvSpPr>
            <p:spPr>
              <a:xfrm>
                <a:off x="5636186" y="2459480"/>
                <a:ext cx="1616538" cy="1592136"/>
              </a:xfrm>
              <a:custGeom>
                <a:avLst/>
                <a:gdLst>
                  <a:gd name="connsiteX0" fmla="*/ 159141 w 1616538"/>
                  <a:gd name="connsiteY0" fmla="*/ 1592136 h 1592136"/>
                  <a:gd name="connsiteX1" fmla="*/ 42936 w 1616538"/>
                  <a:gd name="connsiteY1" fmla="*/ 1541654 h 1592136"/>
                  <a:gd name="connsiteX2" fmla="*/ 6741 w 1616538"/>
                  <a:gd name="connsiteY2" fmla="*/ 1385444 h 1592136"/>
                  <a:gd name="connsiteX3" fmla="*/ 396313 w 1616538"/>
                  <a:gd name="connsiteY3" fmla="*/ 112904 h 1592136"/>
                  <a:gd name="connsiteX4" fmla="*/ 513471 w 1616538"/>
                  <a:gd name="connsiteY4" fmla="*/ 4319 h 1592136"/>
                  <a:gd name="connsiteX5" fmla="*/ 665871 w 1616538"/>
                  <a:gd name="connsiteY5" fmla="*/ 50991 h 1592136"/>
                  <a:gd name="connsiteX6" fmla="*/ 1573603 w 1616538"/>
                  <a:gd name="connsiteY6" fmla="*/ 1024446 h 1592136"/>
                  <a:gd name="connsiteX7" fmla="*/ 1609798 w 1616538"/>
                  <a:gd name="connsiteY7" fmla="*/ 1180656 h 1592136"/>
                  <a:gd name="connsiteX8" fmla="*/ 1492641 w 1616538"/>
                  <a:gd name="connsiteY8" fmla="*/ 1289241 h 1592136"/>
                  <a:gd name="connsiteX9" fmla="*/ 196288 w 1616538"/>
                  <a:gd name="connsiteY9" fmla="*/ 1588326 h 1592136"/>
                  <a:gd name="connsiteX10" fmla="*/ 195336 w 1616538"/>
                  <a:gd name="connsiteY10" fmla="*/ 1585469 h 1592136"/>
                  <a:gd name="connsiteX11" fmla="*/ 196288 w 1616538"/>
                  <a:gd name="connsiteY11" fmla="*/ 1588326 h 1592136"/>
                  <a:gd name="connsiteX12" fmla="*/ 159141 w 1616538"/>
                  <a:gd name="connsiteY12" fmla="*/ 1592136 h 1592136"/>
                  <a:gd name="connsiteX13" fmla="*/ 549666 w 1616538"/>
                  <a:gd name="connsiteY13" fmla="*/ 5271 h 1592136"/>
                  <a:gd name="connsiteX14" fmla="*/ 514423 w 1616538"/>
                  <a:gd name="connsiteY14" fmla="*/ 9081 h 1592136"/>
                  <a:gd name="connsiteX15" fmla="*/ 401076 w 1616538"/>
                  <a:gd name="connsiteY15" fmla="*/ 114809 h 1592136"/>
                  <a:gd name="connsiteX16" fmla="*/ 12456 w 1616538"/>
                  <a:gd name="connsiteY16" fmla="*/ 1387349 h 1592136"/>
                  <a:gd name="connsiteX17" fmla="*/ 46746 w 1616538"/>
                  <a:gd name="connsiteY17" fmla="*/ 1537844 h 1592136"/>
                  <a:gd name="connsiteX18" fmla="*/ 194383 w 1616538"/>
                  <a:gd name="connsiteY18" fmla="*/ 1582611 h 1592136"/>
                  <a:gd name="connsiteX19" fmla="*/ 1490736 w 1616538"/>
                  <a:gd name="connsiteY19" fmla="*/ 1283526 h 1592136"/>
                  <a:gd name="connsiteX20" fmla="*/ 1604083 w 1616538"/>
                  <a:gd name="connsiteY20" fmla="*/ 1177799 h 1592136"/>
                  <a:gd name="connsiteX21" fmla="*/ 1569793 w 1616538"/>
                  <a:gd name="connsiteY21" fmla="*/ 1027304 h 1592136"/>
                  <a:gd name="connsiteX22" fmla="*/ 662061 w 1616538"/>
                  <a:gd name="connsiteY22" fmla="*/ 54801 h 1592136"/>
                  <a:gd name="connsiteX23" fmla="*/ 549666 w 1616538"/>
                  <a:gd name="connsiteY23" fmla="*/ 5271 h 159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6538" h="1592136">
                    <a:moveTo>
                      <a:pt x="159141" y="1592136"/>
                    </a:moveTo>
                    <a:cubicBezTo>
                      <a:pt x="115326" y="1592136"/>
                      <a:pt x="73416" y="1574039"/>
                      <a:pt x="42936" y="1541654"/>
                    </a:cubicBezTo>
                    <a:cubicBezTo>
                      <a:pt x="3883" y="1499744"/>
                      <a:pt x="-9452" y="1441641"/>
                      <a:pt x="6741" y="1385444"/>
                    </a:cubicBezTo>
                    <a:lnTo>
                      <a:pt x="396313" y="112904"/>
                    </a:lnTo>
                    <a:cubicBezTo>
                      <a:pt x="413458" y="57659"/>
                      <a:pt x="457273" y="16701"/>
                      <a:pt x="513471" y="4319"/>
                    </a:cubicBezTo>
                    <a:cubicBezTo>
                      <a:pt x="569668" y="-9016"/>
                      <a:pt x="626818" y="9081"/>
                      <a:pt x="665871" y="50991"/>
                    </a:cubicBezTo>
                    <a:lnTo>
                      <a:pt x="1573603" y="1024446"/>
                    </a:lnTo>
                    <a:cubicBezTo>
                      <a:pt x="1612656" y="1066356"/>
                      <a:pt x="1625991" y="1124459"/>
                      <a:pt x="1609798" y="1180656"/>
                    </a:cubicBezTo>
                    <a:cubicBezTo>
                      <a:pt x="1592653" y="1235901"/>
                      <a:pt x="1548838" y="1276859"/>
                      <a:pt x="1492641" y="1289241"/>
                    </a:cubicBezTo>
                    <a:lnTo>
                      <a:pt x="196288" y="1588326"/>
                    </a:lnTo>
                    <a:lnTo>
                      <a:pt x="195336" y="1585469"/>
                    </a:lnTo>
                    <a:lnTo>
                      <a:pt x="196288" y="1588326"/>
                    </a:lnTo>
                    <a:cubicBezTo>
                      <a:pt x="183905" y="1591184"/>
                      <a:pt x="171523" y="1592136"/>
                      <a:pt x="159141" y="1592136"/>
                    </a:cubicBezTo>
                    <a:close/>
                    <a:moveTo>
                      <a:pt x="549666" y="5271"/>
                    </a:moveTo>
                    <a:cubicBezTo>
                      <a:pt x="538236" y="5271"/>
                      <a:pt x="525853" y="6224"/>
                      <a:pt x="514423" y="9081"/>
                    </a:cubicBezTo>
                    <a:cubicBezTo>
                      <a:pt x="460131" y="21464"/>
                      <a:pt x="418221" y="60516"/>
                      <a:pt x="401076" y="114809"/>
                    </a:cubicBezTo>
                    <a:lnTo>
                      <a:pt x="12456" y="1387349"/>
                    </a:lnTo>
                    <a:cubicBezTo>
                      <a:pt x="-3737" y="1440689"/>
                      <a:pt x="8646" y="1496886"/>
                      <a:pt x="46746" y="1537844"/>
                    </a:cubicBezTo>
                    <a:cubicBezTo>
                      <a:pt x="84846" y="1578801"/>
                      <a:pt x="140091" y="1595946"/>
                      <a:pt x="194383" y="1582611"/>
                    </a:cubicBezTo>
                    <a:lnTo>
                      <a:pt x="1490736" y="1283526"/>
                    </a:lnTo>
                    <a:cubicBezTo>
                      <a:pt x="1545028" y="1271144"/>
                      <a:pt x="1586938" y="1232091"/>
                      <a:pt x="1604083" y="1177799"/>
                    </a:cubicBezTo>
                    <a:cubicBezTo>
                      <a:pt x="1620276" y="1124459"/>
                      <a:pt x="1606941" y="1068261"/>
                      <a:pt x="1569793" y="1027304"/>
                    </a:cubicBezTo>
                    <a:lnTo>
                      <a:pt x="662061" y="54801"/>
                    </a:lnTo>
                    <a:cubicBezTo>
                      <a:pt x="632533" y="22416"/>
                      <a:pt x="592528" y="5271"/>
                      <a:pt x="549666" y="5271"/>
                    </a:cubicBezTo>
                    <a:close/>
                  </a:path>
                </a:pathLst>
              </a:custGeom>
              <a:grpFill/>
              <a:ln w="9525" cap="flat">
                <a:noFill/>
                <a:prstDash val="solid"/>
                <a:miter/>
              </a:ln>
            </p:spPr>
            <p:txBody>
              <a:bodyPr rtlCol="0" anchor="ctr"/>
              <a:lstStyle/>
              <a:p>
                <a:endParaRPr lang="en-US" sz="1730"/>
              </a:p>
            </p:txBody>
          </p:sp>
          <p:sp>
            <p:nvSpPr>
              <p:cNvPr id="65" name="Freeform: Shape 64">
                <a:extLst>
                  <a:ext uri="{FF2B5EF4-FFF2-40B4-BE49-F238E27FC236}">
                    <a16:creationId xmlns:a16="http://schemas.microsoft.com/office/drawing/2014/main" id="{DB035EF0-F3DA-4581-9198-447F52894F88}"/>
                  </a:ext>
                </a:extLst>
              </p:cNvPr>
              <p:cNvSpPr/>
              <p:nvPr/>
            </p:nvSpPr>
            <p:spPr>
              <a:xfrm>
                <a:off x="5531644" y="2497017"/>
                <a:ext cx="1643695" cy="1534597"/>
              </a:xfrm>
              <a:custGeom>
                <a:avLst/>
                <a:gdLst>
                  <a:gd name="connsiteX0" fmla="*/ 1483835 w 1643695"/>
                  <a:gd name="connsiteY0" fmla="*/ 1534598 h 1534597"/>
                  <a:gd name="connsiteX1" fmla="*/ 1466690 w 1643695"/>
                  <a:gd name="connsiteY1" fmla="*/ 1533645 h 1534597"/>
                  <a:gd name="connsiteX2" fmla="*/ 143668 w 1643695"/>
                  <a:gd name="connsiteY2" fmla="*/ 1395532 h 1534597"/>
                  <a:gd name="connsiteX3" fmla="*/ 14128 w 1643695"/>
                  <a:gd name="connsiteY3" fmla="*/ 1301235 h 1534597"/>
                  <a:gd name="connsiteX4" fmla="*/ 31273 w 1643695"/>
                  <a:gd name="connsiteY4" fmla="*/ 1142167 h 1534597"/>
                  <a:gd name="connsiteX5" fmla="*/ 813275 w 1643695"/>
                  <a:gd name="connsiteY5" fmla="*/ 65842 h 1534597"/>
                  <a:gd name="connsiteX6" fmla="*/ 959008 w 1643695"/>
                  <a:gd name="connsiteY6" fmla="*/ 1072 h 1534597"/>
                  <a:gd name="connsiteX7" fmla="*/ 1088548 w 1643695"/>
                  <a:gd name="connsiteY7" fmla="*/ 95370 h 1534597"/>
                  <a:gd name="connsiteX8" fmla="*/ 1629568 w 1643695"/>
                  <a:gd name="connsiteY8" fmla="*/ 1310760 h 1534597"/>
                  <a:gd name="connsiteX9" fmla="*/ 1612423 w 1643695"/>
                  <a:gd name="connsiteY9" fmla="*/ 1469827 h 1534597"/>
                  <a:gd name="connsiteX10" fmla="*/ 1483835 w 1643695"/>
                  <a:gd name="connsiteY10" fmla="*/ 1534598 h 1534597"/>
                  <a:gd name="connsiteX11" fmla="*/ 940910 w 1643695"/>
                  <a:gd name="connsiteY11" fmla="*/ 5835 h 1534597"/>
                  <a:gd name="connsiteX12" fmla="*/ 816133 w 1643695"/>
                  <a:gd name="connsiteY12" fmla="*/ 69652 h 1534597"/>
                  <a:gd name="connsiteX13" fmla="*/ 34130 w 1643695"/>
                  <a:gd name="connsiteY13" fmla="*/ 1145977 h 1534597"/>
                  <a:gd name="connsiteX14" fmla="*/ 17938 w 1643695"/>
                  <a:gd name="connsiteY14" fmla="*/ 1299330 h 1534597"/>
                  <a:gd name="connsiteX15" fmla="*/ 142715 w 1643695"/>
                  <a:gd name="connsiteY15" fmla="*/ 1389817 h 1534597"/>
                  <a:gd name="connsiteX16" fmla="*/ 1465738 w 1643695"/>
                  <a:gd name="connsiteY16" fmla="*/ 1528882 h 1534597"/>
                  <a:gd name="connsiteX17" fmla="*/ 1606708 w 1643695"/>
                  <a:gd name="connsiteY17" fmla="*/ 1466017 h 1534597"/>
                  <a:gd name="connsiteX18" fmla="*/ 1622900 w 1643695"/>
                  <a:gd name="connsiteY18" fmla="*/ 1312665 h 1534597"/>
                  <a:gd name="connsiteX19" fmla="*/ 1082833 w 1643695"/>
                  <a:gd name="connsiteY19" fmla="*/ 97275 h 1534597"/>
                  <a:gd name="connsiteX20" fmla="*/ 958055 w 1643695"/>
                  <a:gd name="connsiteY20" fmla="*/ 6787 h 1534597"/>
                  <a:gd name="connsiteX21" fmla="*/ 940910 w 1643695"/>
                  <a:gd name="connsiteY21" fmla="*/ 5835 h 153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3695" h="1534597">
                    <a:moveTo>
                      <a:pt x="1483835" y="1534598"/>
                    </a:moveTo>
                    <a:cubicBezTo>
                      <a:pt x="1478120" y="1534598"/>
                      <a:pt x="1472405" y="1534598"/>
                      <a:pt x="1466690" y="1533645"/>
                    </a:cubicBezTo>
                    <a:lnTo>
                      <a:pt x="143668" y="1395532"/>
                    </a:lnTo>
                    <a:cubicBezTo>
                      <a:pt x="86518" y="1389817"/>
                      <a:pt x="37940" y="1354575"/>
                      <a:pt x="14128" y="1301235"/>
                    </a:cubicBezTo>
                    <a:cubicBezTo>
                      <a:pt x="-9685" y="1248848"/>
                      <a:pt x="-3017" y="1188840"/>
                      <a:pt x="31273" y="1142167"/>
                    </a:cubicBezTo>
                    <a:lnTo>
                      <a:pt x="813275" y="65842"/>
                    </a:lnTo>
                    <a:cubicBezTo>
                      <a:pt x="847565" y="19170"/>
                      <a:pt x="901858" y="-5595"/>
                      <a:pt x="959008" y="1072"/>
                    </a:cubicBezTo>
                    <a:cubicBezTo>
                      <a:pt x="1016158" y="6787"/>
                      <a:pt x="1064735" y="42030"/>
                      <a:pt x="1088548" y="95370"/>
                    </a:cubicBezTo>
                    <a:lnTo>
                      <a:pt x="1629568" y="1310760"/>
                    </a:lnTo>
                    <a:cubicBezTo>
                      <a:pt x="1653380" y="1363148"/>
                      <a:pt x="1646713" y="1423155"/>
                      <a:pt x="1612423" y="1469827"/>
                    </a:cubicBezTo>
                    <a:cubicBezTo>
                      <a:pt x="1581943" y="1510785"/>
                      <a:pt x="1534318" y="1534598"/>
                      <a:pt x="1483835" y="1534598"/>
                    </a:cubicBezTo>
                    <a:close/>
                    <a:moveTo>
                      <a:pt x="940910" y="5835"/>
                    </a:moveTo>
                    <a:cubicBezTo>
                      <a:pt x="891380" y="5835"/>
                      <a:pt x="845660" y="28695"/>
                      <a:pt x="816133" y="69652"/>
                    </a:cubicBezTo>
                    <a:lnTo>
                      <a:pt x="34130" y="1145977"/>
                    </a:lnTo>
                    <a:cubicBezTo>
                      <a:pt x="1745" y="1190745"/>
                      <a:pt x="-4922" y="1248848"/>
                      <a:pt x="17938" y="1299330"/>
                    </a:cubicBezTo>
                    <a:cubicBezTo>
                      <a:pt x="40798" y="1350765"/>
                      <a:pt x="87470" y="1384102"/>
                      <a:pt x="142715" y="1389817"/>
                    </a:cubicBezTo>
                    <a:lnTo>
                      <a:pt x="1465738" y="1528882"/>
                    </a:lnTo>
                    <a:cubicBezTo>
                      <a:pt x="1520983" y="1534598"/>
                      <a:pt x="1574323" y="1510785"/>
                      <a:pt x="1606708" y="1466017"/>
                    </a:cubicBezTo>
                    <a:cubicBezTo>
                      <a:pt x="1639093" y="1421250"/>
                      <a:pt x="1645760" y="1363148"/>
                      <a:pt x="1622900" y="1312665"/>
                    </a:cubicBezTo>
                    <a:lnTo>
                      <a:pt x="1082833" y="97275"/>
                    </a:lnTo>
                    <a:cubicBezTo>
                      <a:pt x="1059973" y="45840"/>
                      <a:pt x="1013300" y="12502"/>
                      <a:pt x="958055" y="6787"/>
                    </a:cubicBezTo>
                    <a:cubicBezTo>
                      <a:pt x="952340" y="5835"/>
                      <a:pt x="946625" y="5835"/>
                      <a:pt x="940910" y="5835"/>
                    </a:cubicBezTo>
                    <a:close/>
                  </a:path>
                </a:pathLst>
              </a:custGeom>
              <a:grpFill/>
              <a:ln w="9525" cap="flat">
                <a:noFill/>
                <a:prstDash val="solid"/>
                <a:miter/>
              </a:ln>
            </p:spPr>
            <p:txBody>
              <a:bodyPr rtlCol="0" anchor="ctr"/>
              <a:lstStyle/>
              <a:p>
                <a:endParaRPr lang="en-US" sz="1730"/>
              </a:p>
            </p:txBody>
          </p:sp>
          <p:sp>
            <p:nvSpPr>
              <p:cNvPr id="66" name="Freeform: Shape 65">
                <a:extLst>
                  <a:ext uri="{FF2B5EF4-FFF2-40B4-BE49-F238E27FC236}">
                    <a16:creationId xmlns:a16="http://schemas.microsoft.com/office/drawing/2014/main" id="{41AE2AF0-7DD9-443B-8718-D31F62D3CF64}"/>
                  </a:ext>
                </a:extLst>
              </p:cNvPr>
              <p:cNvSpPr/>
              <p:nvPr/>
            </p:nvSpPr>
            <p:spPr>
              <a:xfrm>
                <a:off x="5484232" y="2627034"/>
                <a:ext cx="1525159" cy="1644610"/>
              </a:xfrm>
              <a:custGeom>
                <a:avLst/>
                <a:gdLst>
                  <a:gd name="connsiteX0" fmla="*/ 1365512 w 1525159"/>
                  <a:gd name="connsiteY0" fmla="*/ 1644610 h 1644610"/>
                  <a:gd name="connsiteX1" fmla="*/ 1297885 w 1525159"/>
                  <a:gd name="connsiteY1" fmla="*/ 1629370 h 1644610"/>
                  <a:gd name="connsiteX2" fmla="*/ 92020 w 1525159"/>
                  <a:gd name="connsiteY2" fmla="*/ 1067395 h 1644610"/>
                  <a:gd name="connsiteX3" fmla="*/ 580 w 1525159"/>
                  <a:gd name="connsiteY3" fmla="*/ 936903 h 1644610"/>
                  <a:gd name="connsiteX4" fmla="*/ 68207 w 1525159"/>
                  <a:gd name="connsiteY4" fmla="*/ 792123 h 1644610"/>
                  <a:gd name="connsiteX5" fmla="*/ 1157867 w 1525159"/>
                  <a:gd name="connsiteY5" fmla="*/ 29170 h 1644610"/>
                  <a:gd name="connsiteX6" fmla="*/ 1316935 w 1525159"/>
                  <a:gd name="connsiteY6" fmla="*/ 14883 h 1644610"/>
                  <a:gd name="connsiteX7" fmla="*/ 1408375 w 1525159"/>
                  <a:gd name="connsiteY7" fmla="*/ 145375 h 1644610"/>
                  <a:gd name="connsiteX8" fmla="*/ 1524580 w 1525159"/>
                  <a:gd name="connsiteY8" fmla="*/ 1470303 h 1644610"/>
                  <a:gd name="connsiteX9" fmla="*/ 1456952 w 1525159"/>
                  <a:gd name="connsiteY9" fmla="*/ 1615083 h 1644610"/>
                  <a:gd name="connsiteX10" fmla="*/ 1365512 w 1525159"/>
                  <a:gd name="connsiteY10" fmla="*/ 1644610 h 1644610"/>
                  <a:gd name="connsiteX11" fmla="*/ 1249307 w 1525159"/>
                  <a:gd name="connsiteY11" fmla="*/ 4405 h 1644610"/>
                  <a:gd name="connsiteX12" fmla="*/ 1160725 w 1525159"/>
                  <a:gd name="connsiteY12" fmla="*/ 32980 h 1644610"/>
                  <a:gd name="connsiteX13" fmla="*/ 71065 w 1525159"/>
                  <a:gd name="connsiteY13" fmla="*/ 795933 h 1644610"/>
                  <a:gd name="connsiteX14" fmla="*/ 6295 w 1525159"/>
                  <a:gd name="connsiteY14" fmla="*/ 935950 h 1644610"/>
                  <a:gd name="connsiteX15" fmla="*/ 94877 w 1525159"/>
                  <a:gd name="connsiteY15" fmla="*/ 1062633 h 1644610"/>
                  <a:gd name="connsiteX16" fmla="*/ 1300742 w 1525159"/>
                  <a:gd name="connsiteY16" fmla="*/ 1624608 h 1644610"/>
                  <a:gd name="connsiteX17" fmla="*/ 1454095 w 1525159"/>
                  <a:gd name="connsiteY17" fmla="*/ 1611273 h 1644610"/>
                  <a:gd name="connsiteX18" fmla="*/ 1518865 w 1525159"/>
                  <a:gd name="connsiteY18" fmla="*/ 1471255 h 1644610"/>
                  <a:gd name="connsiteX19" fmla="*/ 1403612 w 1525159"/>
                  <a:gd name="connsiteY19" fmla="*/ 145375 h 1644610"/>
                  <a:gd name="connsiteX20" fmla="*/ 1315030 w 1525159"/>
                  <a:gd name="connsiteY20" fmla="*/ 18693 h 1644610"/>
                  <a:gd name="connsiteX21" fmla="*/ 1249307 w 1525159"/>
                  <a:gd name="connsiteY21" fmla="*/ 4405 h 16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5159" h="1644610">
                    <a:moveTo>
                      <a:pt x="1365512" y="1644610"/>
                    </a:moveTo>
                    <a:cubicBezTo>
                      <a:pt x="1342652" y="1644610"/>
                      <a:pt x="1319792" y="1639848"/>
                      <a:pt x="1297885" y="1629370"/>
                    </a:cubicBezTo>
                    <a:lnTo>
                      <a:pt x="92020" y="1067395"/>
                    </a:lnTo>
                    <a:cubicBezTo>
                      <a:pt x="39632" y="1042630"/>
                      <a:pt x="5342" y="994053"/>
                      <a:pt x="580" y="936903"/>
                    </a:cubicBezTo>
                    <a:cubicBezTo>
                      <a:pt x="-4183" y="879753"/>
                      <a:pt x="20582" y="825460"/>
                      <a:pt x="68207" y="792123"/>
                    </a:cubicBezTo>
                    <a:lnTo>
                      <a:pt x="1157867" y="29170"/>
                    </a:lnTo>
                    <a:cubicBezTo>
                      <a:pt x="1205492" y="-4167"/>
                      <a:pt x="1264547" y="-8930"/>
                      <a:pt x="1316935" y="14883"/>
                    </a:cubicBezTo>
                    <a:cubicBezTo>
                      <a:pt x="1369322" y="39648"/>
                      <a:pt x="1403612" y="88225"/>
                      <a:pt x="1408375" y="145375"/>
                    </a:cubicBezTo>
                    <a:lnTo>
                      <a:pt x="1524580" y="1470303"/>
                    </a:lnTo>
                    <a:cubicBezTo>
                      <a:pt x="1529342" y="1527453"/>
                      <a:pt x="1504577" y="1581745"/>
                      <a:pt x="1456952" y="1615083"/>
                    </a:cubicBezTo>
                    <a:cubicBezTo>
                      <a:pt x="1429330" y="1634133"/>
                      <a:pt x="1397897" y="1644610"/>
                      <a:pt x="1365512" y="1644610"/>
                    </a:cubicBezTo>
                    <a:close/>
                    <a:moveTo>
                      <a:pt x="1249307" y="4405"/>
                    </a:moveTo>
                    <a:cubicBezTo>
                      <a:pt x="1218827" y="4405"/>
                      <a:pt x="1187395" y="13930"/>
                      <a:pt x="1160725" y="32980"/>
                    </a:cubicBezTo>
                    <a:lnTo>
                      <a:pt x="71065" y="795933"/>
                    </a:lnTo>
                    <a:cubicBezTo>
                      <a:pt x="25345" y="828318"/>
                      <a:pt x="580" y="880705"/>
                      <a:pt x="6295" y="935950"/>
                    </a:cubicBezTo>
                    <a:cubicBezTo>
                      <a:pt x="12010" y="991195"/>
                      <a:pt x="44395" y="1038820"/>
                      <a:pt x="94877" y="1062633"/>
                    </a:cubicBezTo>
                    <a:lnTo>
                      <a:pt x="1300742" y="1624608"/>
                    </a:lnTo>
                    <a:cubicBezTo>
                      <a:pt x="1351225" y="1648420"/>
                      <a:pt x="1408375" y="1642705"/>
                      <a:pt x="1454095" y="1611273"/>
                    </a:cubicBezTo>
                    <a:cubicBezTo>
                      <a:pt x="1499815" y="1578888"/>
                      <a:pt x="1524580" y="1527453"/>
                      <a:pt x="1518865" y="1471255"/>
                    </a:cubicBezTo>
                    <a:lnTo>
                      <a:pt x="1403612" y="145375"/>
                    </a:lnTo>
                    <a:cubicBezTo>
                      <a:pt x="1398850" y="90130"/>
                      <a:pt x="1365512" y="42505"/>
                      <a:pt x="1315030" y="18693"/>
                    </a:cubicBezTo>
                    <a:cubicBezTo>
                      <a:pt x="1294075" y="9168"/>
                      <a:pt x="1271215" y="4405"/>
                      <a:pt x="1249307" y="4405"/>
                    </a:cubicBezTo>
                    <a:close/>
                  </a:path>
                </a:pathLst>
              </a:custGeom>
              <a:grpFill/>
              <a:ln w="9525" cap="flat">
                <a:noFill/>
                <a:prstDash val="solid"/>
                <a:miter/>
              </a:ln>
            </p:spPr>
            <p:txBody>
              <a:bodyPr rtlCol="0" anchor="ctr"/>
              <a:lstStyle/>
              <a:p>
                <a:endParaRPr lang="en-US" sz="1730"/>
              </a:p>
            </p:txBody>
          </p:sp>
          <p:sp>
            <p:nvSpPr>
              <p:cNvPr id="67" name="Freeform: Shape 66">
                <a:extLst>
                  <a:ext uri="{FF2B5EF4-FFF2-40B4-BE49-F238E27FC236}">
                    <a16:creationId xmlns:a16="http://schemas.microsoft.com/office/drawing/2014/main" id="{1CB79995-5784-46B8-8607-92B5827FD726}"/>
                  </a:ext>
                </a:extLst>
              </p:cNvPr>
              <p:cNvSpPr/>
              <p:nvPr/>
            </p:nvSpPr>
            <p:spPr>
              <a:xfrm>
                <a:off x="5498775" y="2833512"/>
                <a:ext cx="1599894" cy="1610534"/>
              </a:xfrm>
              <a:custGeom>
                <a:avLst/>
                <a:gdLst>
                  <a:gd name="connsiteX0" fmla="*/ 1116654 w 1599894"/>
                  <a:gd name="connsiteY0" fmla="*/ 1610535 h 1610534"/>
                  <a:gd name="connsiteX1" fmla="*/ 1006164 w 1599894"/>
                  <a:gd name="connsiteY1" fmla="*/ 1565767 h 1610534"/>
                  <a:gd name="connsiteX2" fmla="*/ 48901 w 1599894"/>
                  <a:gd name="connsiteY2" fmla="*/ 641842 h 1610534"/>
                  <a:gd name="connsiteX3" fmla="*/ 5086 w 1599894"/>
                  <a:gd name="connsiteY3" fmla="*/ 488490 h 1610534"/>
                  <a:gd name="connsiteX4" fmla="*/ 116529 w 1599894"/>
                  <a:gd name="connsiteY4" fmla="*/ 373237 h 1610534"/>
                  <a:gd name="connsiteX5" fmla="*/ 1395736 w 1599894"/>
                  <a:gd name="connsiteY5" fmla="*/ 6525 h 1610534"/>
                  <a:gd name="connsiteX6" fmla="*/ 1550994 w 1599894"/>
                  <a:gd name="connsiteY6" fmla="*/ 45577 h 1610534"/>
                  <a:gd name="connsiteX7" fmla="*/ 1594809 w 1599894"/>
                  <a:gd name="connsiteY7" fmla="*/ 198930 h 1610534"/>
                  <a:gd name="connsiteX8" fmla="*/ 1271911 w 1599894"/>
                  <a:gd name="connsiteY8" fmla="*/ 1488615 h 1610534"/>
                  <a:gd name="connsiteX9" fmla="*/ 1160469 w 1599894"/>
                  <a:gd name="connsiteY9" fmla="*/ 1603867 h 1610534"/>
                  <a:gd name="connsiteX10" fmla="*/ 1116654 w 1599894"/>
                  <a:gd name="connsiteY10" fmla="*/ 1610535 h 1610534"/>
                  <a:gd name="connsiteX11" fmla="*/ 1439551 w 1599894"/>
                  <a:gd name="connsiteY11" fmla="*/ 4620 h 1610534"/>
                  <a:gd name="connsiteX12" fmla="*/ 1396689 w 1599894"/>
                  <a:gd name="connsiteY12" fmla="*/ 10335 h 1610534"/>
                  <a:gd name="connsiteX13" fmla="*/ 117481 w 1599894"/>
                  <a:gd name="connsiteY13" fmla="*/ 378000 h 1610534"/>
                  <a:gd name="connsiteX14" fmla="*/ 9849 w 1599894"/>
                  <a:gd name="connsiteY14" fmla="*/ 489442 h 1610534"/>
                  <a:gd name="connsiteX15" fmla="*/ 52711 w 1599894"/>
                  <a:gd name="connsiteY15" fmla="*/ 638033 h 1610534"/>
                  <a:gd name="connsiteX16" fmla="*/ 1009974 w 1599894"/>
                  <a:gd name="connsiteY16" fmla="*/ 1561958 h 1610534"/>
                  <a:gd name="connsiteX17" fmla="*/ 1159516 w 1599894"/>
                  <a:gd name="connsiteY17" fmla="*/ 1599105 h 1610534"/>
                  <a:gd name="connsiteX18" fmla="*/ 1267149 w 1599894"/>
                  <a:gd name="connsiteY18" fmla="*/ 1487663 h 1610534"/>
                  <a:gd name="connsiteX19" fmla="*/ 1589094 w 1599894"/>
                  <a:gd name="connsiteY19" fmla="*/ 197025 h 1610534"/>
                  <a:gd name="connsiteX20" fmla="*/ 1546231 w 1599894"/>
                  <a:gd name="connsiteY20" fmla="*/ 48435 h 1610534"/>
                  <a:gd name="connsiteX21" fmla="*/ 1439551 w 1599894"/>
                  <a:gd name="connsiteY21" fmla="*/ 4620 h 16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894" h="1610534">
                    <a:moveTo>
                      <a:pt x="1116654" y="1610535"/>
                    </a:moveTo>
                    <a:cubicBezTo>
                      <a:pt x="1075696" y="1610535"/>
                      <a:pt x="1036644" y="1595295"/>
                      <a:pt x="1006164" y="1565767"/>
                    </a:cubicBezTo>
                    <a:lnTo>
                      <a:pt x="48901" y="641842"/>
                    </a:lnTo>
                    <a:cubicBezTo>
                      <a:pt x="6991" y="601837"/>
                      <a:pt x="-9201" y="544687"/>
                      <a:pt x="5086" y="488490"/>
                    </a:cubicBezTo>
                    <a:cubicBezTo>
                      <a:pt x="19374" y="432292"/>
                      <a:pt x="60331" y="389430"/>
                      <a:pt x="116529" y="373237"/>
                    </a:cubicBezTo>
                    <a:lnTo>
                      <a:pt x="1395736" y="6525"/>
                    </a:lnTo>
                    <a:cubicBezTo>
                      <a:pt x="1450981" y="-9668"/>
                      <a:pt x="1509084" y="4620"/>
                      <a:pt x="1550994" y="45577"/>
                    </a:cubicBezTo>
                    <a:cubicBezTo>
                      <a:pt x="1592904" y="85582"/>
                      <a:pt x="1609096" y="142732"/>
                      <a:pt x="1594809" y="198930"/>
                    </a:cubicBezTo>
                    <a:lnTo>
                      <a:pt x="1271911" y="1488615"/>
                    </a:lnTo>
                    <a:cubicBezTo>
                      <a:pt x="1257624" y="1544813"/>
                      <a:pt x="1216666" y="1587675"/>
                      <a:pt x="1160469" y="1603867"/>
                    </a:cubicBezTo>
                    <a:cubicBezTo>
                      <a:pt x="1146181" y="1607678"/>
                      <a:pt x="1130941" y="1610535"/>
                      <a:pt x="1116654" y="1610535"/>
                    </a:cubicBezTo>
                    <a:close/>
                    <a:moveTo>
                      <a:pt x="1439551" y="4620"/>
                    </a:moveTo>
                    <a:cubicBezTo>
                      <a:pt x="1425264" y="4620"/>
                      <a:pt x="1410976" y="6525"/>
                      <a:pt x="1396689" y="10335"/>
                    </a:cubicBezTo>
                    <a:lnTo>
                      <a:pt x="117481" y="378000"/>
                    </a:lnTo>
                    <a:cubicBezTo>
                      <a:pt x="64141" y="393240"/>
                      <a:pt x="24136" y="435150"/>
                      <a:pt x="9849" y="489442"/>
                    </a:cubicBezTo>
                    <a:cubicBezTo>
                      <a:pt x="-3487" y="543735"/>
                      <a:pt x="12706" y="598980"/>
                      <a:pt x="52711" y="638033"/>
                    </a:cubicBezTo>
                    <a:lnTo>
                      <a:pt x="1009974" y="1561958"/>
                    </a:lnTo>
                    <a:cubicBezTo>
                      <a:pt x="1049979" y="1601010"/>
                      <a:pt x="1106176" y="1614345"/>
                      <a:pt x="1159516" y="1599105"/>
                    </a:cubicBezTo>
                    <a:cubicBezTo>
                      <a:pt x="1212856" y="1583865"/>
                      <a:pt x="1252861" y="1541955"/>
                      <a:pt x="1267149" y="1487663"/>
                    </a:cubicBezTo>
                    <a:lnTo>
                      <a:pt x="1589094" y="197025"/>
                    </a:lnTo>
                    <a:cubicBezTo>
                      <a:pt x="1602429" y="142732"/>
                      <a:pt x="1586236" y="87487"/>
                      <a:pt x="1546231" y="48435"/>
                    </a:cubicBezTo>
                    <a:cubicBezTo>
                      <a:pt x="1516704" y="19860"/>
                      <a:pt x="1478604" y="4620"/>
                      <a:pt x="1439551" y="4620"/>
                    </a:cubicBezTo>
                    <a:close/>
                  </a:path>
                </a:pathLst>
              </a:custGeom>
              <a:grpFill/>
              <a:ln w="9525" cap="flat">
                <a:noFill/>
                <a:prstDash val="solid"/>
                <a:miter/>
              </a:ln>
            </p:spPr>
            <p:txBody>
              <a:bodyPr rtlCol="0" anchor="ctr"/>
              <a:lstStyle/>
              <a:p>
                <a:endParaRPr lang="en-US" sz="1730"/>
              </a:p>
            </p:txBody>
          </p:sp>
          <p:sp>
            <p:nvSpPr>
              <p:cNvPr id="68" name="Freeform: Shape 67">
                <a:extLst>
                  <a:ext uri="{FF2B5EF4-FFF2-40B4-BE49-F238E27FC236}">
                    <a16:creationId xmlns:a16="http://schemas.microsoft.com/office/drawing/2014/main" id="{C2CD6B3F-A5CA-4C9E-A462-6CF2EE2A5719}"/>
                  </a:ext>
                </a:extLst>
              </p:cNvPr>
              <p:cNvSpPr/>
              <p:nvPr/>
            </p:nvSpPr>
            <p:spPr>
              <a:xfrm>
                <a:off x="5574695" y="3024613"/>
                <a:ext cx="1649985" cy="1506110"/>
              </a:xfrm>
              <a:custGeom>
                <a:avLst/>
                <a:gdLst>
                  <a:gd name="connsiteX0" fmla="*/ 764509 w 1649985"/>
                  <a:gd name="connsiteY0" fmla="*/ 1506111 h 1506110"/>
                  <a:gd name="connsiteX1" fmla="*/ 755937 w 1649985"/>
                  <a:gd name="connsiteY1" fmla="*/ 1506111 h 1506110"/>
                  <a:gd name="connsiteX2" fmla="*/ 621634 w 1649985"/>
                  <a:gd name="connsiteY2" fmla="*/ 1419433 h 1506110"/>
                  <a:gd name="connsiteX3" fmla="*/ 17749 w 1649985"/>
                  <a:gd name="connsiteY3" fmla="*/ 232618 h 1506110"/>
                  <a:gd name="connsiteX4" fmla="*/ 26322 w 1649985"/>
                  <a:gd name="connsiteY4" fmla="*/ 72598 h 1506110"/>
                  <a:gd name="connsiteX5" fmla="*/ 169197 w 1649985"/>
                  <a:gd name="connsiteY5" fmla="*/ 208 h 1506110"/>
                  <a:gd name="connsiteX6" fmla="*/ 1497934 w 1649985"/>
                  <a:gd name="connsiteY6" fmla="*/ 69741 h 1506110"/>
                  <a:gd name="connsiteX7" fmla="*/ 1632237 w 1649985"/>
                  <a:gd name="connsiteY7" fmla="*/ 156418 h 1506110"/>
                  <a:gd name="connsiteX8" fmla="*/ 1623664 w 1649985"/>
                  <a:gd name="connsiteY8" fmla="*/ 316438 h 1506110"/>
                  <a:gd name="connsiteX9" fmla="*/ 898812 w 1649985"/>
                  <a:gd name="connsiteY9" fmla="*/ 1431816 h 1506110"/>
                  <a:gd name="connsiteX10" fmla="*/ 764509 w 1649985"/>
                  <a:gd name="connsiteY10" fmla="*/ 1506111 h 1506110"/>
                  <a:gd name="connsiteX11" fmla="*/ 22512 w 1649985"/>
                  <a:gd name="connsiteY11" fmla="*/ 230713 h 1506110"/>
                  <a:gd name="connsiteX12" fmla="*/ 626397 w 1649985"/>
                  <a:gd name="connsiteY12" fmla="*/ 1415623 h 1506110"/>
                  <a:gd name="connsiteX13" fmla="*/ 755937 w 1649985"/>
                  <a:gd name="connsiteY13" fmla="*/ 1499443 h 1506110"/>
                  <a:gd name="connsiteX14" fmla="*/ 893097 w 1649985"/>
                  <a:gd name="connsiteY14" fmla="*/ 1428958 h 1506110"/>
                  <a:gd name="connsiteX15" fmla="*/ 1617949 w 1649985"/>
                  <a:gd name="connsiteY15" fmla="*/ 313581 h 1506110"/>
                  <a:gd name="connsiteX16" fmla="*/ 1625569 w 1649985"/>
                  <a:gd name="connsiteY16" fmla="*/ 159276 h 1506110"/>
                  <a:gd name="connsiteX17" fmla="*/ 1496029 w 1649985"/>
                  <a:gd name="connsiteY17" fmla="*/ 75456 h 1506110"/>
                  <a:gd name="connsiteX18" fmla="*/ 168244 w 1649985"/>
                  <a:gd name="connsiteY18" fmla="*/ 5923 h 1506110"/>
                  <a:gd name="connsiteX19" fmla="*/ 31084 w 1649985"/>
                  <a:gd name="connsiteY19" fmla="*/ 76408 h 1506110"/>
                  <a:gd name="connsiteX20" fmla="*/ 22512 w 1649985"/>
                  <a:gd name="connsiteY20" fmla="*/ 230713 h 15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9985" h="1506110">
                    <a:moveTo>
                      <a:pt x="764509" y="1506111"/>
                    </a:moveTo>
                    <a:cubicBezTo>
                      <a:pt x="761652" y="1506111"/>
                      <a:pt x="758794" y="1506111"/>
                      <a:pt x="755937" y="1506111"/>
                    </a:cubicBezTo>
                    <a:cubicBezTo>
                      <a:pt x="697834" y="1503253"/>
                      <a:pt x="648304" y="1470868"/>
                      <a:pt x="621634" y="1419433"/>
                    </a:cubicBezTo>
                    <a:lnTo>
                      <a:pt x="17749" y="232618"/>
                    </a:lnTo>
                    <a:cubicBezTo>
                      <a:pt x="-8921" y="181183"/>
                      <a:pt x="-5111" y="121176"/>
                      <a:pt x="26322" y="72598"/>
                    </a:cubicBezTo>
                    <a:cubicBezTo>
                      <a:pt x="57754" y="24021"/>
                      <a:pt x="111094" y="-2649"/>
                      <a:pt x="169197" y="208"/>
                    </a:cubicBezTo>
                    <a:lnTo>
                      <a:pt x="1497934" y="69741"/>
                    </a:lnTo>
                    <a:cubicBezTo>
                      <a:pt x="1556037" y="72598"/>
                      <a:pt x="1605567" y="104983"/>
                      <a:pt x="1632237" y="156418"/>
                    </a:cubicBezTo>
                    <a:cubicBezTo>
                      <a:pt x="1658907" y="207853"/>
                      <a:pt x="1655097" y="267861"/>
                      <a:pt x="1623664" y="316438"/>
                    </a:cubicBezTo>
                    <a:lnTo>
                      <a:pt x="898812" y="1431816"/>
                    </a:lnTo>
                    <a:cubicBezTo>
                      <a:pt x="868332" y="1478488"/>
                      <a:pt x="818802" y="1506111"/>
                      <a:pt x="764509" y="1506111"/>
                    </a:cubicBezTo>
                    <a:close/>
                    <a:moveTo>
                      <a:pt x="22512" y="230713"/>
                    </a:moveTo>
                    <a:lnTo>
                      <a:pt x="626397" y="1415623"/>
                    </a:lnTo>
                    <a:cubicBezTo>
                      <a:pt x="652114" y="1465153"/>
                      <a:pt x="699739" y="1496586"/>
                      <a:pt x="755937" y="1499443"/>
                    </a:cubicBezTo>
                    <a:cubicBezTo>
                      <a:pt x="812134" y="1502301"/>
                      <a:pt x="862617" y="1476583"/>
                      <a:pt x="893097" y="1428958"/>
                    </a:cubicBezTo>
                    <a:lnTo>
                      <a:pt x="1617949" y="313581"/>
                    </a:lnTo>
                    <a:cubicBezTo>
                      <a:pt x="1648429" y="266908"/>
                      <a:pt x="1651287" y="208806"/>
                      <a:pt x="1625569" y="159276"/>
                    </a:cubicBezTo>
                    <a:cubicBezTo>
                      <a:pt x="1599852" y="109746"/>
                      <a:pt x="1552227" y="78313"/>
                      <a:pt x="1496029" y="75456"/>
                    </a:cubicBezTo>
                    <a:lnTo>
                      <a:pt x="168244" y="5923"/>
                    </a:lnTo>
                    <a:cubicBezTo>
                      <a:pt x="112999" y="3066"/>
                      <a:pt x="61564" y="28783"/>
                      <a:pt x="31084" y="76408"/>
                    </a:cubicBezTo>
                    <a:cubicBezTo>
                      <a:pt x="604" y="123081"/>
                      <a:pt x="-3206" y="181183"/>
                      <a:pt x="22512" y="230713"/>
                    </a:cubicBezTo>
                    <a:close/>
                  </a:path>
                </a:pathLst>
              </a:custGeom>
              <a:grpFill/>
              <a:ln w="9525" cap="flat">
                <a:noFill/>
                <a:prstDash val="solid"/>
                <a:miter/>
              </a:ln>
            </p:spPr>
            <p:txBody>
              <a:bodyPr rtlCol="0" anchor="ctr"/>
              <a:lstStyle/>
              <a:p>
                <a:endParaRPr lang="en-US" sz="1730"/>
              </a:p>
            </p:txBody>
          </p:sp>
          <p:sp>
            <p:nvSpPr>
              <p:cNvPr id="69" name="Freeform: Shape 68">
                <a:extLst>
                  <a:ext uri="{FF2B5EF4-FFF2-40B4-BE49-F238E27FC236}">
                    <a16:creationId xmlns:a16="http://schemas.microsoft.com/office/drawing/2014/main" id="{078CAE18-6328-4577-A1E2-68D4E723AA5D}"/>
                  </a:ext>
                </a:extLst>
              </p:cNvPr>
              <p:cNvSpPr/>
              <p:nvPr/>
            </p:nvSpPr>
            <p:spPr>
              <a:xfrm>
                <a:off x="5703352" y="2884241"/>
                <a:ext cx="1552692" cy="1637910"/>
              </a:xfrm>
              <a:custGeom>
                <a:avLst/>
                <a:gdLst>
                  <a:gd name="connsiteX0" fmla="*/ 345340 w 1552692"/>
                  <a:gd name="connsiteY0" fmla="*/ 1637910 h 1637910"/>
                  <a:gd name="connsiteX1" fmla="*/ 285332 w 1552692"/>
                  <a:gd name="connsiteY1" fmla="*/ 1626480 h 1637910"/>
                  <a:gd name="connsiteX2" fmla="*/ 187225 w 1552692"/>
                  <a:gd name="connsiteY2" fmla="*/ 1500750 h 1637910"/>
                  <a:gd name="connsiteX3" fmla="*/ 1487 w 1552692"/>
                  <a:gd name="connsiteY3" fmla="*/ 182490 h 1637910"/>
                  <a:gd name="connsiteX4" fmla="*/ 61495 w 1552692"/>
                  <a:gd name="connsiteY4" fmla="*/ 33900 h 1637910"/>
                  <a:gd name="connsiteX5" fmla="*/ 219610 w 1552692"/>
                  <a:gd name="connsiteY5" fmla="*/ 11993 h 1637910"/>
                  <a:gd name="connsiteX6" fmla="*/ 1453097 w 1552692"/>
                  <a:gd name="connsiteY6" fmla="*/ 510150 h 1637910"/>
                  <a:gd name="connsiteX7" fmla="*/ 1551205 w 1552692"/>
                  <a:gd name="connsiteY7" fmla="*/ 635880 h 1637910"/>
                  <a:gd name="connsiteX8" fmla="*/ 1491197 w 1552692"/>
                  <a:gd name="connsiteY8" fmla="*/ 784470 h 1637910"/>
                  <a:gd name="connsiteX9" fmla="*/ 442495 w 1552692"/>
                  <a:gd name="connsiteY9" fmla="*/ 1603620 h 1637910"/>
                  <a:gd name="connsiteX10" fmla="*/ 345340 w 1552692"/>
                  <a:gd name="connsiteY10" fmla="*/ 1637910 h 1637910"/>
                  <a:gd name="connsiteX11" fmla="*/ 7202 w 1552692"/>
                  <a:gd name="connsiteY11" fmla="*/ 182490 h 1637910"/>
                  <a:gd name="connsiteX12" fmla="*/ 191987 w 1552692"/>
                  <a:gd name="connsiteY12" fmla="*/ 1499798 h 1637910"/>
                  <a:gd name="connsiteX13" fmla="*/ 287237 w 1552692"/>
                  <a:gd name="connsiteY13" fmla="*/ 1621718 h 1637910"/>
                  <a:gd name="connsiteX14" fmla="*/ 439637 w 1552692"/>
                  <a:gd name="connsiteY14" fmla="*/ 1599810 h 1637910"/>
                  <a:gd name="connsiteX15" fmla="*/ 1488340 w 1552692"/>
                  <a:gd name="connsiteY15" fmla="*/ 780660 h 1637910"/>
                  <a:gd name="connsiteX16" fmla="*/ 1546442 w 1552692"/>
                  <a:gd name="connsiteY16" fmla="*/ 637785 h 1637910"/>
                  <a:gd name="connsiteX17" fmla="*/ 1451192 w 1552692"/>
                  <a:gd name="connsiteY17" fmla="*/ 515865 h 1637910"/>
                  <a:gd name="connsiteX18" fmla="*/ 217705 w 1552692"/>
                  <a:gd name="connsiteY18" fmla="*/ 17708 h 1637910"/>
                  <a:gd name="connsiteX19" fmla="*/ 65305 w 1552692"/>
                  <a:gd name="connsiteY19" fmla="*/ 39615 h 1637910"/>
                  <a:gd name="connsiteX20" fmla="*/ 7202 w 1552692"/>
                  <a:gd name="connsiteY20" fmla="*/ 182490 h 16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52692" h="1637910">
                    <a:moveTo>
                      <a:pt x="345340" y="1637910"/>
                    </a:moveTo>
                    <a:cubicBezTo>
                      <a:pt x="325337" y="1637910"/>
                      <a:pt x="304382" y="1634100"/>
                      <a:pt x="285332" y="1626480"/>
                    </a:cubicBezTo>
                    <a:cubicBezTo>
                      <a:pt x="231992" y="1604573"/>
                      <a:pt x="194845" y="1557900"/>
                      <a:pt x="187225" y="1500750"/>
                    </a:cubicBezTo>
                    <a:lnTo>
                      <a:pt x="1487" y="182490"/>
                    </a:lnTo>
                    <a:cubicBezTo>
                      <a:pt x="-6133" y="125340"/>
                      <a:pt x="15775" y="70095"/>
                      <a:pt x="61495" y="33900"/>
                    </a:cubicBezTo>
                    <a:cubicBezTo>
                      <a:pt x="107215" y="-1342"/>
                      <a:pt x="166270" y="-9915"/>
                      <a:pt x="219610" y="11993"/>
                    </a:cubicBezTo>
                    <a:lnTo>
                      <a:pt x="1453097" y="510150"/>
                    </a:lnTo>
                    <a:cubicBezTo>
                      <a:pt x="1506437" y="532058"/>
                      <a:pt x="1543585" y="578730"/>
                      <a:pt x="1551205" y="635880"/>
                    </a:cubicBezTo>
                    <a:cubicBezTo>
                      <a:pt x="1558825" y="693030"/>
                      <a:pt x="1536917" y="748275"/>
                      <a:pt x="1491197" y="784470"/>
                    </a:cubicBezTo>
                    <a:lnTo>
                      <a:pt x="442495" y="1603620"/>
                    </a:lnTo>
                    <a:cubicBezTo>
                      <a:pt x="414872" y="1626480"/>
                      <a:pt x="380582" y="1637910"/>
                      <a:pt x="345340" y="1637910"/>
                    </a:cubicBezTo>
                    <a:close/>
                    <a:moveTo>
                      <a:pt x="7202" y="182490"/>
                    </a:moveTo>
                    <a:lnTo>
                      <a:pt x="191987" y="1499798"/>
                    </a:lnTo>
                    <a:cubicBezTo>
                      <a:pt x="199607" y="1555043"/>
                      <a:pt x="234850" y="1600763"/>
                      <a:pt x="287237" y="1621718"/>
                    </a:cubicBezTo>
                    <a:cubicBezTo>
                      <a:pt x="338672" y="1642673"/>
                      <a:pt x="395822" y="1635053"/>
                      <a:pt x="439637" y="1599810"/>
                    </a:cubicBezTo>
                    <a:lnTo>
                      <a:pt x="1488340" y="780660"/>
                    </a:lnTo>
                    <a:cubicBezTo>
                      <a:pt x="1532155" y="746370"/>
                      <a:pt x="1554062" y="693030"/>
                      <a:pt x="1546442" y="637785"/>
                    </a:cubicBezTo>
                    <a:cubicBezTo>
                      <a:pt x="1538822" y="582540"/>
                      <a:pt x="1503580" y="536820"/>
                      <a:pt x="1451192" y="515865"/>
                    </a:cubicBezTo>
                    <a:lnTo>
                      <a:pt x="217705" y="17708"/>
                    </a:lnTo>
                    <a:cubicBezTo>
                      <a:pt x="166270" y="-3247"/>
                      <a:pt x="109120" y="4373"/>
                      <a:pt x="65305" y="39615"/>
                    </a:cubicBezTo>
                    <a:cubicBezTo>
                      <a:pt x="20537" y="72953"/>
                      <a:pt x="-418" y="127245"/>
                      <a:pt x="7202" y="182490"/>
                    </a:cubicBezTo>
                    <a:close/>
                  </a:path>
                </a:pathLst>
              </a:custGeom>
              <a:grpFill/>
              <a:ln w="9525" cap="flat">
                <a:noFill/>
                <a:prstDash val="solid"/>
                <a:miter/>
              </a:ln>
            </p:spPr>
            <p:txBody>
              <a:bodyPr rtlCol="0" anchor="ctr"/>
              <a:lstStyle/>
              <a:p>
                <a:endParaRPr lang="en-US" sz="1730"/>
              </a:p>
            </p:txBody>
          </p:sp>
          <p:sp>
            <p:nvSpPr>
              <p:cNvPr id="70" name="Freeform: Shape 69">
                <a:extLst>
                  <a:ext uri="{FF2B5EF4-FFF2-40B4-BE49-F238E27FC236}">
                    <a16:creationId xmlns:a16="http://schemas.microsoft.com/office/drawing/2014/main" id="{EBA2E409-2F87-44E1-BDE0-C3F0C5F0EE68}"/>
                  </a:ext>
                </a:extLst>
              </p:cNvPr>
              <p:cNvSpPr/>
              <p:nvPr/>
            </p:nvSpPr>
            <p:spPr>
              <a:xfrm>
                <a:off x="5617251" y="2793839"/>
                <a:ext cx="1577256" cy="1626394"/>
              </a:xfrm>
              <a:custGeom>
                <a:avLst/>
                <a:gdLst>
                  <a:gd name="connsiteX0" fmla="*/ 159026 w 1577256"/>
                  <a:gd name="connsiteY0" fmla="*/ 1626395 h 1626394"/>
                  <a:gd name="connsiteX1" fmla="*/ 55203 w 1577256"/>
                  <a:gd name="connsiteY1" fmla="*/ 1587342 h 1626394"/>
                  <a:gd name="connsiteX2" fmla="*/ 2816 w 1577256"/>
                  <a:gd name="connsiteY2" fmla="*/ 1435895 h 1626394"/>
                  <a:gd name="connsiteX3" fmla="*/ 256181 w 1577256"/>
                  <a:gd name="connsiteY3" fmla="*/ 130017 h 1626394"/>
                  <a:gd name="connsiteX4" fmla="*/ 360956 w 1577256"/>
                  <a:gd name="connsiteY4" fmla="*/ 9050 h 1626394"/>
                  <a:gd name="connsiteX5" fmla="*/ 518118 w 1577256"/>
                  <a:gd name="connsiteY5" fmla="*/ 39530 h 1626394"/>
                  <a:gd name="connsiteX6" fmla="*/ 1522053 w 1577256"/>
                  <a:gd name="connsiteY6" fmla="*/ 912019 h 1626394"/>
                  <a:gd name="connsiteX7" fmla="*/ 1574441 w 1577256"/>
                  <a:gd name="connsiteY7" fmla="*/ 1063467 h 1626394"/>
                  <a:gd name="connsiteX8" fmla="*/ 1469666 w 1577256"/>
                  <a:gd name="connsiteY8" fmla="*/ 1184435 h 1626394"/>
                  <a:gd name="connsiteX9" fmla="*/ 211413 w 1577256"/>
                  <a:gd name="connsiteY9" fmla="*/ 1616870 h 1626394"/>
                  <a:gd name="connsiteX10" fmla="*/ 159026 w 1577256"/>
                  <a:gd name="connsiteY10" fmla="*/ 1626395 h 1626394"/>
                  <a:gd name="connsiteX11" fmla="*/ 259038 w 1577256"/>
                  <a:gd name="connsiteY11" fmla="*/ 130017 h 1626394"/>
                  <a:gd name="connsiteX12" fmla="*/ 261896 w 1577256"/>
                  <a:gd name="connsiteY12" fmla="*/ 130970 h 1626394"/>
                  <a:gd name="connsiteX13" fmla="*/ 7578 w 1577256"/>
                  <a:gd name="connsiteY13" fmla="*/ 1436847 h 1626394"/>
                  <a:gd name="connsiteX14" fmla="*/ 58061 w 1577256"/>
                  <a:gd name="connsiteY14" fmla="*/ 1582580 h 1626394"/>
                  <a:gd name="connsiteX15" fmla="*/ 209508 w 1577256"/>
                  <a:gd name="connsiteY15" fmla="*/ 1612107 h 1626394"/>
                  <a:gd name="connsiteX16" fmla="*/ 1467761 w 1577256"/>
                  <a:gd name="connsiteY16" fmla="*/ 1178720 h 1626394"/>
                  <a:gd name="connsiteX17" fmla="*/ 1568726 w 1577256"/>
                  <a:gd name="connsiteY17" fmla="*/ 1062515 h 1626394"/>
                  <a:gd name="connsiteX18" fmla="*/ 1518243 w 1577256"/>
                  <a:gd name="connsiteY18" fmla="*/ 916782 h 1626394"/>
                  <a:gd name="connsiteX19" fmla="*/ 514308 w 1577256"/>
                  <a:gd name="connsiteY19" fmla="*/ 43340 h 1626394"/>
                  <a:gd name="connsiteX20" fmla="*/ 362861 w 1577256"/>
                  <a:gd name="connsiteY20" fmla="*/ 13812 h 1626394"/>
                  <a:gd name="connsiteX21" fmla="*/ 261896 w 1577256"/>
                  <a:gd name="connsiteY21" fmla="*/ 130017 h 1626394"/>
                  <a:gd name="connsiteX22" fmla="*/ 259038 w 1577256"/>
                  <a:gd name="connsiteY22" fmla="*/ 130017 h 162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7256" h="1626394">
                    <a:moveTo>
                      <a:pt x="159026" y="1626395"/>
                    </a:moveTo>
                    <a:cubicBezTo>
                      <a:pt x="120926" y="1626395"/>
                      <a:pt x="84731" y="1613060"/>
                      <a:pt x="55203" y="1587342"/>
                    </a:cubicBezTo>
                    <a:cubicBezTo>
                      <a:pt x="11388" y="1549242"/>
                      <a:pt x="-7662" y="1493045"/>
                      <a:pt x="2816" y="1435895"/>
                    </a:cubicBezTo>
                    <a:lnTo>
                      <a:pt x="256181" y="130017"/>
                    </a:lnTo>
                    <a:cubicBezTo>
                      <a:pt x="267611" y="72867"/>
                      <a:pt x="306663" y="28100"/>
                      <a:pt x="360956" y="9050"/>
                    </a:cubicBezTo>
                    <a:cubicBezTo>
                      <a:pt x="415248" y="-10000"/>
                      <a:pt x="474303" y="1430"/>
                      <a:pt x="518118" y="39530"/>
                    </a:cubicBezTo>
                    <a:lnTo>
                      <a:pt x="1522053" y="912019"/>
                    </a:lnTo>
                    <a:cubicBezTo>
                      <a:pt x="1565868" y="950119"/>
                      <a:pt x="1584918" y="1006317"/>
                      <a:pt x="1574441" y="1063467"/>
                    </a:cubicBezTo>
                    <a:cubicBezTo>
                      <a:pt x="1563011" y="1120617"/>
                      <a:pt x="1523958" y="1165385"/>
                      <a:pt x="1469666" y="1184435"/>
                    </a:cubicBezTo>
                    <a:lnTo>
                      <a:pt x="211413" y="1616870"/>
                    </a:lnTo>
                    <a:cubicBezTo>
                      <a:pt x="194268" y="1623537"/>
                      <a:pt x="176171" y="1626395"/>
                      <a:pt x="159026" y="1626395"/>
                    </a:cubicBezTo>
                    <a:close/>
                    <a:moveTo>
                      <a:pt x="259038" y="130017"/>
                    </a:moveTo>
                    <a:lnTo>
                      <a:pt x="261896" y="130970"/>
                    </a:lnTo>
                    <a:lnTo>
                      <a:pt x="7578" y="1436847"/>
                    </a:lnTo>
                    <a:cubicBezTo>
                      <a:pt x="-2899" y="1492092"/>
                      <a:pt x="16151" y="1546385"/>
                      <a:pt x="58061" y="1582580"/>
                    </a:cubicBezTo>
                    <a:cubicBezTo>
                      <a:pt x="99971" y="1618775"/>
                      <a:pt x="157121" y="1630205"/>
                      <a:pt x="209508" y="1612107"/>
                    </a:cubicBezTo>
                    <a:lnTo>
                      <a:pt x="1467761" y="1178720"/>
                    </a:lnTo>
                    <a:cubicBezTo>
                      <a:pt x="1520148" y="1160622"/>
                      <a:pt x="1558248" y="1116807"/>
                      <a:pt x="1568726" y="1062515"/>
                    </a:cubicBezTo>
                    <a:cubicBezTo>
                      <a:pt x="1579203" y="1007269"/>
                      <a:pt x="1560153" y="952977"/>
                      <a:pt x="1518243" y="916782"/>
                    </a:cubicBezTo>
                    <a:lnTo>
                      <a:pt x="514308" y="43340"/>
                    </a:lnTo>
                    <a:cubicBezTo>
                      <a:pt x="472398" y="7145"/>
                      <a:pt x="415248" y="-4285"/>
                      <a:pt x="362861" y="13812"/>
                    </a:cubicBezTo>
                    <a:cubicBezTo>
                      <a:pt x="310473" y="31910"/>
                      <a:pt x="272373" y="75725"/>
                      <a:pt x="261896" y="130017"/>
                    </a:cubicBezTo>
                    <a:lnTo>
                      <a:pt x="259038" y="130017"/>
                    </a:lnTo>
                    <a:close/>
                  </a:path>
                </a:pathLst>
              </a:custGeom>
              <a:grpFill/>
              <a:ln w="9525" cap="flat">
                <a:noFill/>
                <a:prstDash val="solid"/>
                <a:miter/>
              </a:ln>
            </p:spPr>
            <p:txBody>
              <a:bodyPr rtlCol="0" anchor="ctr"/>
              <a:lstStyle/>
              <a:p>
                <a:endParaRPr lang="en-US" sz="1730"/>
              </a:p>
            </p:txBody>
          </p:sp>
          <p:sp>
            <p:nvSpPr>
              <p:cNvPr id="71" name="Freeform: Shape 70">
                <a:extLst>
                  <a:ext uri="{FF2B5EF4-FFF2-40B4-BE49-F238E27FC236}">
                    <a16:creationId xmlns:a16="http://schemas.microsoft.com/office/drawing/2014/main" id="{4B3569C1-CDDE-4300-A777-F5A88095235D}"/>
                  </a:ext>
                </a:extLst>
              </p:cNvPr>
              <p:cNvSpPr/>
              <p:nvPr/>
            </p:nvSpPr>
            <p:spPr>
              <a:xfrm>
                <a:off x="5392895" y="2761931"/>
                <a:ext cx="1648777" cy="1472564"/>
              </a:xfrm>
              <a:custGeom>
                <a:avLst/>
                <a:gdLst>
                  <a:gd name="connsiteX0" fmla="*/ 1490186 w 1648777"/>
                  <a:gd name="connsiteY0" fmla="*/ 1472565 h 1472564"/>
                  <a:gd name="connsiteX1" fmla="*/ 159544 w 1648777"/>
                  <a:gd name="connsiteY1" fmla="*/ 1472565 h 1472564"/>
                  <a:gd name="connsiteX2" fmla="*/ 21431 w 1648777"/>
                  <a:gd name="connsiteY2" fmla="*/ 1392555 h 1472564"/>
                  <a:gd name="connsiteX3" fmla="*/ 21431 w 1648777"/>
                  <a:gd name="connsiteY3" fmla="*/ 1232535 h 1472564"/>
                  <a:gd name="connsiteX4" fmla="*/ 686276 w 1648777"/>
                  <a:gd name="connsiteY4" fmla="*/ 80010 h 1472564"/>
                  <a:gd name="connsiteX5" fmla="*/ 824389 w 1648777"/>
                  <a:gd name="connsiteY5" fmla="*/ 0 h 1472564"/>
                  <a:gd name="connsiteX6" fmla="*/ 824389 w 1648777"/>
                  <a:gd name="connsiteY6" fmla="*/ 0 h 1472564"/>
                  <a:gd name="connsiteX7" fmla="*/ 962501 w 1648777"/>
                  <a:gd name="connsiteY7" fmla="*/ 80010 h 1472564"/>
                  <a:gd name="connsiteX8" fmla="*/ 1627346 w 1648777"/>
                  <a:gd name="connsiteY8" fmla="*/ 1232535 h 1472564"/>
                  <a:gd name="connsiteX9" fmla="*/ 1627346 w 1648777"/>
                  <a:gd name="connsiteY9" fmla="*/ 1392555 h 1472564"/>
                  <a:gd name="connsiteX10" fmla="*/ 1490186 w 1648777"/>
                  <a:gd name="connsiteY10" fmla="*/ 1472565 h 1472564"/>
                  <a:gd name="connsiteX11" fmla="*/ 691039 w 1648777"/>
                  <a:gd name="connsiteY11" fmla="*/ 83820 h 1472564"/>
                  <a:gd name="connsiteX12" fmla="*/ 26194 w 1648777"/>
                  <a:gd name="connsiteY12" fmla="*/ 1236345 h 1472564"/>
                  <a:gd name="connsiteX13" fmla="*/ 26194 w 1648777"/>
                  <a:gd name="connsiteY13" fmla="*/ 1390650 h 1472564"/>
                  <a:gd name="connsiteX14" fmla="*/ 159544 w 1648777"/>
                  <a:gd name="connsiteY14" fmla="*/ 1467803 h 1472564"/>
                  <a:gd name="connsiteX15" fmla="*/ 1490186 w 1648777"/>
                  <a:gd name="connsiteY15" fmla="*/ 1467803 h 1472564"/>
                  <a:gd name="connsiteX16" fmla="*/ 1623536 w 1648777"/>
                  <a:gd name="connsiteY16" fmla="*/ 1390650 h 1472564"/>
                  <a:gd name="connsiteX17" fmla="*/ 1623536 w 1648777"/>
                  <a:gd name="connsiteY17" fmla="*/ 1236345 h 1472564"/>
                  <a:gd name="connsiteX18" fmla="*/ 958691 w 1648777"/>
                  <a:gd name="connsiteY18" fmla="*/ 83820 h 1472564"/>
                  <a:gd name="connsiteX19" fmla="*/ 825341 w 1648777"/>
                  <a:gd name="connsiteY19" fmla="*/ 6668 h 1472564"/>
                  <a:gd name="connsiteX20" fmla="*/ 691039 w 1648777"/>
                  <a:gd name="connsiteY20" fmla="*/ 83820 h 1472564"/>
                  <a:gd name="connsiteX21" fmla="*/ 691039 w 1648777"/>
                  <a:gd name="connsiteY21" fmla="*/ 83820 h 147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8777" h="1472564">
                    <a:moveTo>
                      <a:pt x="1490186" y="1472565"/>
                    </a:moveTo>
                    <a:lnTo>
                      <a:pt x="159544" y="1472565"/>
                    </a:lnTo>
                    <a:cubicBezTo>
                      <a:pt x="101441" y="1472565"/>
                      <a:pt x="50006" y="1443038"/>
                      <a:pt x="21431" y="1392555"/>
                    </a:cubicBezTo>
                    <a:cubicBezTo>
                      <a:pt x="-7144" y="1342073"/>
                      <a:pt x="-7144" y="1283018"/>
                      <a:pt x="21431" y="1232535"/>
                    </a:cubicBezTo>
                    <a:lnTo>
                      <a:pt x="686276" y="80010"/>
                    </a:lnTo>
                    <a:cubicBezTo>
                      <a:pt x="714851" y="29528"/>
                      <a:pt x="767239" y="0"/>
                      <a:pt x="824389" y="0"/>
                    </a:cubicBezTo>
                    <a:cubicBezTo>
                      <a:pt x="824389" y="0"/>
                      <a:pt x="824389" y="0"/>
                      <a:pt x="824389" y="0"/>
                    </a:cubicBezTo>
                    <a:cubicBezTo>
                      <a:pt x="882491" y="0"/>
                      <a:pt x="933926" y="29528"/>
                      <a:pt x="962501" y="80010"/>
                    </a:cubicBezTo>
                    <a:lnTo>
                      <a:pt x="1627346" y="1232535"/>
                    </a:lnTo>
                    <a:cubicBezTo>
                      <a:pt x="1655921" y="1283018"/>
                      <a:pt x="1655921" y="1342073"/>
                      <a:pt x="1627346" y="1392555"/>
                    </a:cubicBezTo>
                    <a:cubicBezTo>
                      <a:pt x="1599724" y="1443038"/>
                      <a:pt x="1548289" y="1472565"/>
                      <a:pt x="1490186" y="1472565"/>
                    </a:cubicBezTo>
                    <a:close/>
                    <a:moveTo>
                      <a:pt x="691039" y="83820"/>
                    </a:moveTo>
                    <a:lnTo>
                      <a:pt x="26194" y="1236345"/>
                    </a:lnTo>
                    <a:cubicBezTo>
                      <a:pt x="-1429" y="1284923"/>
                      <a:pt x="-1429" y="1342073"/>
                      <a:pt x="26194" y="1390650"/>
                    </a:cubicBezTo>
                    <a:cubicBezTo>
                      <a:pt x="53816" y="1439228"/>
                      <a:pt x="104299" y="1467803"/>
                      <a:pt x="159544" y="1467803"/>
                    </a:cubicBezTo>
                    <a:lnTo>
                      <a:pt x="1490186" y="1467803"/>
                    </a:lnTo>
                    <a:cubicBezTo>
                      <a:pt x="1546384" y="1467803"/>
                      <a:pt x="1595914" y="1439228"/>
                      <a:pt x="1623536" y="1390650"/>
                    </a:cubicBezTo>
                    <a:cubicBezTo>
                      <a:pt x="1651159" y="1342073"/>
                      <a:pt x="1651159" y="1284923"/>
                      <a:pt x="1623536" y="1236345"/>
                    </a:cubicBezTo>
                    <a:lnTo>
                      <a:pt x="958691" y="83820"/>
                    </a:lnTo>
                    <a:cubicBezTo>
                      <a:pt x="931069" y="35243"/>
                      <a:pt x="880586" y="6668"/>
                      <a:pt x="825341" y="6668"/>
                    </a:cubicBezTo>
                    <a:cubicBezTo>
                      <a:pt x="769144" y="6668"/>
                      <a:pt x="719614" y="35243"/>
                      <a:pt x="691039" y="83820"/>
                    </a:cubicBezTo>
                    <a:lnTo>
                      <a:pt x="691039" y="83820"/>
                    </a:lnTo>
                    <a:close/>
                  </a:path>
                </a:pathLst>
              </a:custGeom>
              <a:grpFill/>
              <a:ln w="9525" cap="flat">
                <a:noFill/>
                <a:prstDash val="solid"/>
                <a:miter/>
              </a:ln>
            </p:spPr>
            <p:txBody>
              <a:bodyPr rtlCol="0" anchor="ctr"/>
              <a:lstStyle/>
              <a:p>
                <a:endParaRPr lang="en-US" sz="1730"/>
              </a:p>
            </p:txBody>
          </p:sp>
        </p:grpSp>
        <p:sp>
          <p:nvSpPr>
            <p:cNvPr id="39" name="Oval 38">
              <a:extLst>
                <a:ext uri="{FF2B5EF4-FFF2-40B4-BE49-F238E27FC236}">
                  <a16:creationId xmlns:a16="http://schemas.microsoft.com/office/drawing/2014/main" id="{9AE111FB-FF99-4626-BF15-A4F33CA3E1B5}"/>
                </a:ext>
              </a:extLst>
            </p:cNvPr>
            <p:cNvSpPr/>
            <p:nvPr userDrawn="1"/>
          </p:nvSpPr>
          <p:spPr bwMode="auto">
            <a:xfrm>
              <a:off x="7282905" y="3548967"/>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EEBF4D1F-7718-4CBE-B978-16FFCC2E3239}"/>
                </a:ext>
              </a:extLst>
            </p:cNvPr>
            <p:cNvSpPr/>
            <p:nvPr userDrawn="1"/>
          </p:nvSpPr>
          <p:spPr bwMode="auto">
            <a:xfrm>
              <a:off x="10896617" y="2909240"/>
              <a:ext cx="124272" cy="12429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59426D11-A3B4-4FDE-8641-D925588DAB39}"/>
                </a:ext>
              </a:extLst>
            </p:cNvPr>
            <p:cNvSpPr/>
            <p:nvPr userDrawn="1"/>
          </p:nvSpPr>
          <p:spPr bwMode="auto">
            <a:xfrm>
              <a:off x="9437993" y="5187887"/>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57EDB010-9BE7-4344-984B-7453B4FF8307}"/>
                </a:ext>
              </a:extLst>
            </p:cNvPr>
            <p:cNvSpPr/>
            <p:nvPr userDrawn="1"/>
          </p:nvSpPr>
          <p:spPr bwMode="auto">
            <a:xfrm>
              <a:off x="9087616" y="1541433"/>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786CA2CE-9797-4C92-9057-B3C8D9338727}"/>
                </a:ext>
              </a:extLst>
            </p:cNvPr>
            <p:cNvSpPr/>
            <p:nvPr userDrawn="1"/>
          </p:nvSpPr>
          <p:spPr bwMode="auto">
            <a:xfrm>
              <a:off x="9052314" y="3314275"/>
              <a:ext cx="229418" cy="22945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F9A1662E-1481-432B-8DC4-FF834AA60F57}"/>
                </a:ext>
              </a:extLst>
            </p:cNvPr>
            <p:cNvSpPr/>
            <p:nvPr userDrawn="1"/>
          </p:nvSpPr>
          <p:spPr bwMode="auto">
            <a:xfrm>
              <a:off x="9104887" y="2889394"/>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715F718A-84C5-42DA-9B9C-64E200753714}"/>
                </a:ext>
              </a:extLst>
            </p:cNvPr>
            <p:cNvSpPr/>
            <p:nvPr userDrawn="1"/>
          </p:nvSpPr>
          <p:spPr bwMode="auto">
            <a:xfrm>
              <a:off x="9104887" y="3844315"/>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48AC1770-CB0D-4E0F-BBE4-41A23A7256AC}"/>
                </a:ext>
              </a:extLst>
            </p:cNvPr>
            <p:cNvSpPr/>
            <p:nvPr userDrawn="1"/>
          </p:nvSpPr>
          <p:spPr bwMode="auto">
            <a:xfrm rot="16200000">
              <a:off x="8628699"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4DE4736B-6655-4B31-833F-1C130B67E3D0}"/>
                </a:ext>
              </a:extLst>
            </p:cNvPr>
            <p:cNvSpPr/>
            <p:nvPr userDrawn="1"/>
          </p:nvSpPr>
          <p:spPr bwMode="auto">
            <a:xfrm rot="16200000">
              <a:off x="9583486"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Footer Placeholder 1">
            <a:extLst>
              <a:ext uri="{FF2B5EF4-FFF2-40B4-BE49-F238E27FC236}">
                <a16:creationId xmlns:a16="http://schemas.microsoft.com/office/drawing/2014/main" id="{5B097BE3-EF10-4B46-96C1-8E86C90AEF09}"/>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1566389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3707028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3707028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4073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5" name="Footer Placeholder 1">
            <a:extLst>
              <a:ext uri="{FF2B5EF4-FFF2-40B4-BE49-F238E27FC236}">
                <a16:creationId xmlns:a16="http://schemas.microsoft.com/office/drawing/2014/main" id="{7744196A-122B-4882-AC59-654F494CE272}"/>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01431899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3/5/2024</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70438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6277057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cxnSp>
        <p:nvCxnSpPr>
          <p:cNvPr id="3" name="Straight Connector 2">
            <a:extLst>
              <a:ext uri="{FF2B5EF4-FFF2-40B4-BE49-F238E27FC236}">
                <a16:creationId xmlns:a16="http://schemas.microsoft.com/office/drawing/2014/main" id="{4208A27C-250D-5645-8D7F-C2C259BD6246}"/>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marL="0" algn="l" defTabSz="285750" rtl="0" eaLnBrk="1" latinLnBrk="0" hangingPunct="1">
              <a:lnSpc>
                <a:spcPct val="120000"/>
              </a:lnSpc>
            </a:pPr>
            <a:r>
              <a:rPr lang="en-US" sz="625" kern="1200" spc="375">
                <a:solidFill>
                  <a:srgbClr val="627597"/>
                </a:solidFill>
                <a:latin typeface="Helvetica" pitchFamily="2" charset="0"/>
                <a:ea typeface="+mn-ea"/>
                <a:cs typeface="Segoe UI Light" panose="020B0502040204020203" pitchFamily="34" charset="0"/>
              </a:rPr>
              <a:t>DEVSECOPS with GitHub and Azure</a:t>
            </a: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1"/>
            <a:ext cx="4794455" cy="197170"/>
          </a:xfrm>
          <a:prstGeom prst="rect">
            <a:avLst/>
          </a:prstGeom>
        </p:spPr>
        <p:txBody>
          <a:bodyPr wrap="square">
            <a:spAutoFit/>
          </a:bodyPr>
          <a:lstStyle/>
          <a:p>
            <a:pPr algn="r">
              <a:lnSpc>
                <a:spcPct val="120000"/>
              </a:lnSpc>
            </a:pPr>
            <a:fld id="{D4F9CC37-649C-A24D-8487-AF6F4FDCA213}" type="slidenum">
              <a:rPr lang="en-US" sz="625" spc="375" smtClean="0">
                <a:solidFill>
                  <a:schemeClr val="bg1"/>
                </a:solidFill>
                <a:latin typeface="Helvetica" pitchFamily="2" charset="0"/>
                <a:cs typeface="Segoe UI Light" panose="020B0502040204020203" pitchFamily="34" charset="0"/>
              </a:rPr>
              <a:t>‹#›</a:t>
            </a:fld>
            <a:endParaRPr lang="en-US" sz="625" spc="375">
              <a:solidFill>
                <a:schemeClr val="bg1"/>
              </a:solidFill>
              <a:latin typeface="Helvetica" pitchFamily="2" charset="0"/>
              <a:cs typeface="Segoe UI Light" panose="020B0502040204020203" pitchFamily="34" charset="0"/>
            </a:endParaRPr>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spTree>
    <p:extLst>
      <p:ext uri="{BB962C8B-B14F-4D97-AF65-F5344CB8AC3E}">
        <p14:creationId xmlns:p14="http://schemas.microsoft.com/office/powerpoint/2010/main" val="2619933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5089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2826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996227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29490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3468339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627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798440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2243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1229041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8022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2241583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3843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3056420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4556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370802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525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15620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59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757282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68715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219990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968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805376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59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2982859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768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1549880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8899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992868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White_NoBreak">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tx1"/>
                </a:solidFill>
              </a:defRPr>
            </a:lvl1pPr>
          </a:lstStyle>
          <a:p>
            <a:r>
              <a:rPr lang="en-US"/>
              <a:t>Microsoft Confidential</a:t>
            </a:r>
          </a:p>
        </p:txBody>
      </p:sp>
      <p:pic>
        <p:nvPicPr>
          <p:cNvPr id="9" name="MS logo gray - EMF" descr="Microsoft logo, gray text version">
            <a:extLst>
              <a:ext uri="{FF2B5EF4-FFF2-40B4-BE49-F238E27FC236}">
                <a16:creationId xmlns:a16="http://schemas.microsoft.com/office/drawing/2014/main" id="{F4EC7EC5-3DE3-2CB4-7AB0-8522148E3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3" name="Text Placeholder 9">
            <a:extLst>
              <a:ext uri="{FF2B5EF4-FFF2-40B4-BE49-F238E27FC236}">
                <a16:creationId xmlns:a16="http://schemas.microsoft.com/office/drawing/2014/main" id="{9AF400F6-F5AC-2B39-EEC9-301A2C740E23}"/>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1021237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04090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57373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2443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2882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801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8211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146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4848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853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60152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1029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2463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007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57018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10604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7258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22926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03677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245967"/>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85469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_Gradient_Dar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DCD9B43-714C-2FF2-432D-9FD044DC4EDF}"/>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CA712EDF-3A9B-23E2-ACC4-CAAFBD2EF6FC}"/>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2295720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264478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4634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708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55687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9454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1743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81965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79861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0014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55029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6.xml"/><Relationship Id="rId21" Type="http://schemas.openxmlformats.org/officeDocument/2006/relationships/slideLayout" Target="../slideLayouts/slideLayout61.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63" Type="http://schemas.openxmlformats.org/officeDocument/2006/relationships/slideLayout" Target="../slideLayouts/slideLayout103.xml"/><Relationship Id="rId68" Type="http://schemas.openxmlformats.org/officeDocument/2006/relationships/slideLayout" Target="../slideLayouts/slideLayout108.xml"/><Relationship Id="rId84" Type="http://schemas.openxmlformats.org/officeDocument/2006/relationships/image" Target="../media/image9.emf"/><Relationship Id="rId16" Type="http://schemas.openxmlformats.org/officeDocument/2006/relationships/slideLayout" Target="../slideLayouts/slideLayout56.xml"/><Relationship Id="rId11" Type="http://schemas.openxmlformats.org/officeDocument/2006/relationships/slideLayout" Target="../slideLayouts/slideLayout51.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74" Type="http://schemas.openxmlformats.org/officeDocument/2006/relationships/slideLayout" Target="../slideLayouts/slideLayout114.xml"/><Relationship Id="rId79" Type="http://schemas.openxmlformats.org/officeDocument/2006/relationships/slideLayout" Target="../slideLayouts/slideLayout119.xml"/><Relationship Id="rId5" Type="http://schemas.openxmlformats.org/officeDocument/2006/relationships/slideLayout" Target="../slideLayouts/slideLayout45.xml"/><Relationship Id="rId61" Type="http://schemas.openxmlformats.org/officeDocument/2006/relationships/slideLayout" Target="../slideLayouts/slideLayout101.xml"/><Relationship Id="rId82" Type="http://schemas.openxmlformats.org/officeDocument/2006/relationships/slideLayout" Target="../slideLayouts/slideLayout122.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64" Type="http://schemas.openxmlformats.org/officeDocument/2006/relationships/slideLayout" Target="../slideLayouts/slideLayout104.xml"/><Relationship Id="rId69" Type="http://schemas.openxmlformats.org/officeDocument/2006/relationships/slideLayout" Target="../slideLayouts/slideLayout109.xml"/><Relationship Id="rId77" Type="http://schemas.openxmlformats.org/officeDocument/2006/relationships/slideLayout" Target="../slideLayouts/slideLayout117.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72" Type="http://schemas.openxmlformats.org/officeDocument/2006/relationships/slideLayout" Target="../slideLayouts/slideLayout112.xml"/><Relationship Id="rId80" Type="http://schemas.openxmlformats.org/officeDocument/2006/relationships/slideLayout" Target="../slideLayouts/slideLayout120.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59" Type="http://schemas.openxmlformats.org/officeDocument/2006/relationships/slideLayout" Target="../slideLayouts/slideLayout99.xml"/><Relationship Id="rId67" Type="http://schemas.openxmlformats.org/officeDocument/2006/relationships/slideLayout" Target="../slideLayouts/slideLayout107.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62" Type="http://schemas.openxmlformats.org/officeDocument/2006/relationships/slideLayout" Target="../slideLayouts/slideLayout102.xml"/><Relationship Id="rId70" Type="http://schemas.openxmlformats.org/officeDocument/2006/relationships/slideLayout" Target="../slideLayouts/slideLayout110.xml"/><Relationship Id="rId75" Type="http://schemas.openxmlformats.org/officeDocument/2006/relationships/slideLayout" Target="../slideLayouts/slideLayout115.xml"/><Relationship Id="rId83"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slideLayout" Target="../slideLayouts/slideLayout100.xml"/><Relationship Id="rId65" Type="http://schemas.openxmlformats.org/officeDocument/2006/relationships/slideLayout" Target="../slideLayouts/slideLayout105.xml"/><Relationship Id="rId73" Type="http://schemas.openxmlformats.org/officeDocument/2006/relationships/slideLayout" Target="../slideLayouts/slideLayout113.xml"/><Relationship Id="rId78" Type="http://schemas.openxmlformats.org/officeDocument/2006/relationships/slideLayout" Target="../slideLayouts/slideLayout118.xml"/><Relationship Id="rId81" Type="http://schemas.openxmlformats.org/officeDocument/2006/relationships/slideLayout" Target="../slideLayouts/slideLayout12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 Id="rId34" Type="http://schemas.openxmlformats.org/officeDocument/2006/relationships/slideLayout" Target="../slideLayouts/slideLayout74.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6" Type="http://schemas.openxmlformats.org/officeDocument/2006/relationships/slideLayout" Target="../slideLayouts/slideLayout116.xml"/><Relationship Id="rId7" Type="http://schemas.openxmlformats.org/officeDocument/2006/relationships/slideLayout" Target="../slideLayouts/slideLayout47.xml"/><Relationship Id="rId71" Type="http://schemas.openxmlformats.org/officeDocument/2006/relationships/slideLayout" Target="../slideLayouts/slideLayout111.xml"/><Relationship Id="rId2" Type="http://schemas.openxmlformats.org/officeDocument/2006/relationships/slideLayout" Target="../slideLayouts/slideLayout42.xml"/><Relationship Id="rId29" Type="http://schemas.openxmlformats.org/officeDocument/2006/relationships/slideLayout" Target="../slideLayouts/slideLayout69.xml"/><Relationship Id="rId24" Type="http://schemas.openxmlformats.org/officeDocument/2006/relationships/slideLayout" Target="../slideLayouts/slideLayout64.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66" Type="http://schemas.openxmlformats.org/officeDocument/2006/relationships/slideLayout" Target="../slideLayouts/slideLayout10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image" Target="../media/image9.emf"/><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0" Type="http://schemas.openxmlformats.org/officeDocument/2006/relationships/slideLayout" Target="../slideLayouts/slideLayout142.xml"/><Relationship Id="rId41" Type="http://schemas.openxmlformats.org/officeDocument/2006/relationships/slideLayout" Target="../slideLayouts/slideLayout1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image" Target="../media/image9.emf"/><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theme" Target="../theme/theme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image" Target="../media/image1.emf"/><Relationship Id="rId5" Type="http://schemas.openxmlformats.org/officeDocument/2006/relationships/slideLayout" Target="../slideLayouts/slideLayout200.xml"/><Relationship Id="rId10" Type="http://schemas.openxmlformats.org/officeDocument/2006/relationships/oleObject" Target="../embeddings/oleObject2.bin"/><Relationship Id="rId4" Type="http://schemas.openxmlformats.org/officeDocument/2006/relationships/slideLayout" Target="../slideLayouts/slideLayout199.xml"/><Relationship Id="rId9"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oleObject" Target="../embeddings/oleObject1.bin"/><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4" Type="http://schemas.openxmlformats.org/officeDocument/2006/relationships/tags" Target="../tags/tag6.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theme" Target="../theme/theme6.xml"/><Relationship Id="rId8" Type="http://schemas.openxmlformats.org/officeDocument/2006/relationships/slideLayout" Target="../slideLayouts/slideLayout210.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image" Target="../media/image1.emf"/><Relationship Id="rId20" Type="http://schemas.openxmlformats.org/officeDocument/2006/relationships/slideLayout" Target="../slideLayouts/slideLayout222.xml"/><Relationship Id="rId41" Type="http://schemas.openxmlformats.org/officeDocument/2006/relationships/slideLayout" Target="../slideLayouts/slideLayout2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theme" Target="../theme/theme7.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slideLayout" Target="../slideLayouts/slideLayout30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theme" Target="../theme/theme8.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9.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4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25" imgH="424" progId="TCLayout.ActiveDocument.1">
                  <p:embed/>
                </p:oleObj>
              </mc:Choice>
              <mc:Fallback>
                <p:oleObj name="think-cell Slide" r:id="rId4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4007" r:id="rId1"/>
    <p:sldLayoutId id="2147483894" r:id="rId2"/>
    <p:sldLayoutId id="2147483895" r:id="rId3"/>
    <p:sldLayoutId id="2147483896" r:id="rId4"/>
    <p:sldLayoutId id="2147484008" r:id="rId5"/>
    <p:sldLayoutId id="2147484009"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4010" r:id="rId31"/>
    <p:sldLayoutId id="2147484011" r:id="rId32"/>
    <p:sldLayoutId id="2147483988" r:id="rId33"/>
    <p:sldLayoutId id="2147484132" r:id="rId34"/>
    <p:sldLayoutId id="2147483990" r:id="rId35"/>
    <p:sldLayoutId id="2147483991" r:id="rId36"/>
    <p:sldLayoutId id="2147483992" r:id="rId37"/>
    <p:sldLayoutId id="2147483995" r:id="rId38"/>
    <p:sldLayoutId id="2147483997" r:id="rId39"/>
    <p:sldLayoutId id="2147484239" r:id="rId40"/>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65609483"/>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 id="2147483761" r:id="rId57"/>
    <p:sldLayoutId id="2147483762" r:id="rId58"/>
    <p:sldLayoutId id="2147483763" r:id="rId59"/>
    <p:sldLayoutId id="2147483764" r:id="rId60"/>
    <p:sldLayoutId id="2147483765" r:id="rId61"/>
    <p:sldLayoutId id="2147483766" r:id="rId62"/>
    <p:sldLayoutId id="2147483767" r:id="rId63"/>
    <p:sldLayoutId id="2147483768" r:id="rId64"/>
    <p:sldLayoutId id="2147483769" r:id="rId65"/>
    <p:sldLayoutId id="2147483770" r:id="rId66"/>
    <p:sldLayoutId id="2147483771" r:id="rId67"/>
    <p:sldLayoutId id="2147483772" r:id="rId68"/>
    <p:sldLayoutId id="2147483773" r:id="rId69"/>
    <p:sldLayoutId id="2147483774" r:id="rId70"/>
    <p:sldLayoutId id="2147483775" r:id="rId71"/>
    <p:sldLayoutId id="2147483776" r:id="rId72"/>
    <p:sldLayoutId id="2147483777" r:id="rId73"/>
    <p:sldLayoutId id="2147483778" r:id="rId74"/>
    <p:sldLayoutId id="2147483779" r:id="rId75"/>
    <p:sldLayoutId id="2147483780" r:id="rId76"/>
    <p:sldLayoutId id="2147483781" r:id="rId77"/>
    <p:sldLayoutId id="2147483782" r:id="rId78"/>
    <p:sldLayoutId id="2147483783" r:id="rId79"/>
    <p:sldLayoutId id="2147483784" r:id="rId80"/>
    <p:sldLayoutId id="2147483785" r:id="rId81"/>
    <p:sldLayoutId id="2147483817" r:id="rId8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8109719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Light" panose="020B0502040204020203" pitchFamily="34" charset="0"/>
          <a:ea typeface="+mn-ea"/>
          <a:cs typeface="Segoe UI Light" panose="020B05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45041358"/>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9"/>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95985375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6" r:id="rId7"/>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44"/>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25" imgH="424" progId="TCLayout.ActiveDocument.1">
                  <p:embed/>
                </p:oleObj>
              </mc:Choice>
              <mc:Fallback>
                <p:oleObj name="think-cell Slide" r:id="rId45"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949902528"/>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165713999"/>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E3252"/>
            </a:gs>
            <a:gs pos="2000">
              <a:srgbClr val="2E3252"/>
            </a:gs>
            <a:gs pos="100000">
              <a:srgbClr val="161828"/>
            </a:gs>
          </a:gsLst>
          <a:path path="circle">
            <a:fillToRect l="50000" t="50000" r="50000" b="50000"/>
          </a:path>
          <a:tileRect/>
        </a:gradFill>
        <a:effectLst/>
      </p:bgPr>
    </p:bg>
    <p:spTree>
      <p:nvGrpSpPr>
        <p:cNvPr id="1" name="Shape 50"/>
        <p:cNvGrpSpPr/>
        <p:nvPr/>
      </p:nvGrpSpPr>
      <p:grpSpPr>
        <a:xfrm>
          <a:off x="0" y="0"/>
          <a:ext cx="0" cy="0"/>
          <a:chOff x="0" y="0"/>
          <a:chExt cx="0" cy="0"/>
        </a:xfrm>
      </p:grpSpPr>
      <p:sp>
        <p:nvSpPr>
          <p:cNvPr id="52" name="Google Shape;52;p13"/>
          <p:cNvSpPr txBox="1">
            <a:spLocks noGrp="1"/>
          </p:cNvSpPr>
          <p:nvPr>
            <p:ph type="title"/>
          </p:nvPr>
        </p:nvSpPr>
        <p:spPr>
          <a:xfrm>
            <a:off x="1202966" y="869700"/>
            <a:ext cx="8339200" cy="796400"/>
          </a:xfrm>
          <a:prstGeom prst="rect">
            <a:avLst/>
          </a:prstGeom>
          <a:noFill/>
          <a:ln>
            <a:noFill/>
          </a:ln>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3400"/>
              <a:buFont typeface="Helvetica Neue"/>
              <a:buNone/>
              <a:defRPr sz="3400" b="1">
                <a:solidFill>
                  <a:schemeClr val="lt1"/>
                </a:solidFill>
                <a:latin typeface="Helvetica Neue"/>
                <a:ea typeface="Helvetica Neue"/>
                <a:cs typeface="Helvetica Neue"/>
                <a:sym typeface="Helvetica Neue"/>
              </a:defRPr>
            </a:lvl1pPr>
            <a:lvl2pPr lvl="1" rtl="0">
              <a:lnSpc>
                <a:spcPct val="90000"/>
              </a:lnSpc>
              <a:spcBef>
                <a:spcPts val="0"/>
              </a:spcBef>
              <a:spcAft>
                <a:spcPts val="0"/>
              </a:spcAft>
              <a:buSzPts val="1400"/>
              <a:buNone/>
              <a:defRPr/>
            </a:lvl2pPr>
            <a:lvl3pPr lvl="2" rtl="0">
              <a:lnSpc>
                <a:spcPct val="90000"/>
              </a:lnSpc>
              <a:spcBef>
                <a:spcPts val="0"/>
              </a:spcBef>
              <a:spcAft>
                <a:spcPts val="0"/>
              </a:spcAft>
              <a:buSzPts val="1400"/>
              <a:buNone/>
              <a:defRPr/>
            </a:lvl3pPr>
            <a:lvl4pPr lvl="3" rtl="0">
              <a:lnSpc>
                <a:spcPct val="90000"/>
              </a:lnSpc>
              <a:spcBef>
                <a:spcPts val="0"/>
              </a:spcBef>
              <a:spcAft>
                <a:spcPts val="0"/>
              </a:spcAft>
              <a:buSzPts val="1400"/>
              <a:buNone/>
              <a:defRPr/>
            </a:lvl4pPr>
            <a:lvl5pPr lvl="4" rtl="0">
              <a:lnSpc>
                <a:spcPct val="90000"/>
              </a:lnSpc>
              <a:spcBef>
                <a:spcPts val="0"/>
              </a:spcBef>
              <a:spcAft>
                <a:spcPts val="0"/>
              </a:spcAft>
              <a:buSzPts val="1400"/>
              <a:buNone/>
              <a:defRPr/>
            </a:lvl5pPr>
            <a:lvl6pPr lvl="5" rtl="0">
              <a:lnSpc>
                <a:spcPct val="90000"/>
              </a:lnSpc>
              <a:spcBef>
                <a:spcPts val="0"/>
              </a:spcBef>
              <a:spcAft>
                <a:spcPts val="0"/>
              </a:spcAft>
              <a:buSzPts val="1400"/>
              <a:buNone/>
              <a:defRPr/>
            </a:lvl6pPr>
            <a:lvl7pPr lvl="6" rtl="0">
              <a:lnSpc>
                <a:spcPct val="90000"/>
              </a:lnSpc>
              <a:spcBef>
                <a:spcPts val="0"/>
              </a:spcBef>
              <a:spcAft>
                <a:spcPts val="0"/>
              </a:spcAft>
              <a:buSzPts val="1400"/>
              <a:buNone/>
              <a:defRPr/>
            </a:lvl7pPr>
            <a:lvl8pPr lvl="7" rtl="0">
              <a:lnSpc>
                <a:spcPct val="90000"/>
              </a:lnSpc>
              <a:spcBef>
                <a:spcPts val="0"/>
              </a:spcBef>
              <a:spcAft>
                <a:spcPts val="0"/>
              </a:spcAft>
              <a:buSzPts val="1400"/>
              <a:buNone/>
              <a:defRPr/>
            </a:lvl8pPr>
            <a:lvl9pPr lvl="8" rtl="0">
              <a:lnSpc>
                <a:spcPct val="90000"/>
              </a:lnSpc>
              <a:spcBef>
                <a:spcPts val="0"/>
              </a:spcBef>
              <a:spcAft>
                <a:spcPts val="0"/>
              </a:spcAft>
              <a:buSzPts val="1400"/>
              <a:buNone/>
              <a:defRPr/>
            </a:lvl9pPr>
          </a:lstStyle>
          <a:p>
            <a:endParaRPr dirty="0"/>
          </a:p>
        </p:txBody>
      </p:sp>
      <p:sp>
        <p:nvSpPr>
          <p:cNvPr id="51" name="Google Shape;51;p13"/>
          <p:cNvSpPr txBox="1">
            <a:spLocks noGrp="1"/>
          </p:cNvSpPr>
          <p:nvPr>
            <p:ph type="body" idx="1"/>
          </p:nvPr>
        </p:nvSpPr>
        <p:spPr>
          <a:xfrm>
            <a:off x="1202967" y="2252867"/>
            <a:ext cx="8869200" cy="3316000"/>
          </a:xfrm>
          <a:prstGeom prst="rect">
            <a:avLst/>
          </a:prstGeom>
          <a:noFill/>
          <a:ln>
            <a:noFill/>
          </a:ln>
        </p:spPr>
        <p:txBody>
          <a:bodyPr spcFirstLastPara="1" wrap="square" lIns="91425" tIns="91425" rIns="91425" bIns="91425" anchor="t" anchorCtr="0">
            <a:noAutofit/>
          </a:bodyPr>
          <a:lstStyle>
            <a:lvl1pPr marL="457200" lvl="0"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1pPr>
            <a:lvl2pPr marL="914400" lvl="1"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2pPr>
            <a:lvl3pPr marL="1371600" lvl="2"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3pPr>
            <a:lvl4pPr marL="1828800" lvl="3"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4pPr>
            <a:lvl5pPr marL="2286000" lvl="4"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5pPr>
            <a:lvl6pPr marL="2743200" lvl="5"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6pPr>
            <a:lvl7pPr marL="3200400" lvl="6"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7pPr>
            <a:lvl8pPr marL="3657600" lvl="7"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8pPr>
            <a:lvl9pPr marL="4114800" lvl="8"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2444771979"/>
      </p:ext>
    </p:extLst>
  </p:cSld>
  <p:clrMap bg1="lt1" tx1="dk1" bg2="dk2" tx2="lt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3" r:id="rId21"/>
    <p:sldLayoutId id="2147484194" r:id="rId22"/>
    <p:sldLayoutId id="2147484195" r:id="rId23"/>
    <p:sldLayoutId id="2147484196" r:id="rId24"/>
    <p:sldLayoutId id="2147484197" r:id="rId25"/>
    <p:sldLayoutId id="2147484198" r:id="rId26"/>
    <p:sldLayoutId id="2147484199" r:id="rId27"/>
    <p:sldLayoutId id="2147484200" r:id="rId28"/>
    <p:sldLayoutId id="2147484201" r:id="rId29"/>
    <p:sldLayoutId id="2147484202" r:id="rId3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E3252"/>
            </a:gs>
            <a:gs pos="2000">
              <a:srgbClr val="2E3252"/>
            </a:gs>
            <a:gs pos="100000">
              <a:srgbClr val="161828"/>
            </a:gs>
          </a:gsLst>
          <a:path path="circle">
            <a:fillToRect l="50000" t="50000" r="50000" b="50000"/>
          </a:path>
          <a:tileRect/>
        </a:gra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body" idx="1"/>
          </p:nvPr>
        </p:nvSpPr>
        <p:spPr>
          <a:xfrm>
            <a:off x="1202967" y="2252867"/>
            <a:ext cx="8869200" cy="3316000"/>
          </a:xfrm>
          <a:prstGeom prst="rect">
            <a:avLst/>
          </a:prstGeom>
          <a:noFill/>
          <a:ln>
            <a:noFill/>
          </a:ln>
        </p:spPr>
        <p:txBody>
          <a:bodyPr spcFirstLastPara="1" wrap="square" lIns="91425" tIns="91425" rIns="91425" bIns="91425" anchor="t" anchorCtr="0">
            <a:noAutofit/>
          </a:bodyPr>
          <a:lstStyle>
            <a:lvl1pPr marL="457200" lvl="0"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1pPr>
            <a:lvl2pPr marL="914400" lvl="1"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2pPr>
            <a:lvl3pPr marL="1371600" lvl="2"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3pPr>
            <a:lvl4pPr marL="1828800" lvl="3"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4pPr>
            <a:lvl5pPr marL="2286000" lvl="4"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5pPr>
            <a:lvl6pPr marL="2743200" lvl="5"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6pPr>
            <a:lvl7pPr marL="3200400" lvl="6"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7pPr>
            <a:lvl8pPr marL="3657600" lvl="7"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8pPr>
            <a:lvl9pPr marL="4114800" lvl="8"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9pPr>
          </a:lstStyle>
          <a:p>
            <a:endParaRPr/>
          </a:p>
        </p:txBody>
      </p:sp>
      <p:sp>
        <p:nvSpPr>
          <p:cNvPr id="52" name="Google Shape;52;p13"/>
          <p:cNvSpPr txBox="1">
            <a:spLocks noGrp="1"/>
          </p:cNvSpPr>
          <p:nvPr>
            <p:ph type="title"/>
          </p:nvPr>
        </p:nvSpPr>
        <p:spPr>
          <a:xfrm>
            <a:off x="1202967" y="869700"/>
            <a:ext cx="8339200" cy="796400"/>
          </a:xfrm>
          <a:prstGeom prst="rect">
            <a:avLst/>
          </a:prstGeom>
          <a:noFill/>
          <a:ln>
            <a:noFill/>
          </a:ln>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3400"/>
              <a:buFont typeface="Helvetica Neue"/>
              <a:buNone/>
              <a:defRPr sz="3400" b="1">
                <a:solidFill>
                  <a:schemeClr val="lt1"/>
                </a:solidFill>
                <a:latin typeface="Helvetica Neue"/>
                <a:ea typeface="Helvetica Neue"/>
                <a:cs typeface="Helvetica Neue"/>
                <a:sym typeface="Helvetica Neue"/>
              </a:defRPr>
            </a:lvl1pPr>
            <a:lvl2pPr lvl="1" rtl="0">
              <a:lnSpc>
                <a:spcPct val="90000"/>
              </a:lnSpc>
              <a:spcBef>
                <a:spcPts val="0"/>
              </a:spcBef>
              <a:spcAft>
                <a:spcPts val="0"/>
              </a:spcAft>
              <a:buSzPts val="1400"/>
              <a:buNone/>
              <a:defRPr/>
            </a:lvl2pPr>
            <a:lvl3pPr lvl="2" rtl="0">
              <a:lnSpc>
                <a:spcPct val="90000"/>
              </a:lnSpc>
              <a:spcBef>
                <a:spcPts val="0"/>
              </a:spcBef>
              <a:spcAft>
                <a:spcPts val="0"/>
              </a:spcAft>
              <a:buSzPts val="1400"/>
              <a:buNone/>
              <a:defRPr/>
            </a:lvl3pPr>
            <a:lvl4pPr lvl="3" rtl="0">
              <a:lnSpc>
                <a:spcPct val="90000"/>
              </a:lnSpc>
              <a:spcBef>
                <a:spcPts val="0"/>
              </a:spcBef>
              <a:spcAft>
                <a:spcPts val="0"/>
              </a:spcAft>
              <a:buSzPts val="1400"/>
              <a:buNone/>
              <a:defRPr/>
            </a:lvl4pPr>
            <a:lvl5pPr lvl="4" rtl="0">
              <a:lnSpc>
                <a:spcPct val="90000"/>
              </a:lnSpc>
              <a:spcBef>
                <a:spcPts val="0"/>
              </a:spcBef>
              <a:spcAft>
                <a:spcPts val="0"/>
              </a:spcAft>
              <a:buSzPts val="1400"/>
              <a:buNone/>
              <a:defRPr/>
            </a:lvl5pPr>
            <a:lvl6pPr lvl="5" rtl="0">
              <a:lnSpc>
                <a:spcPct val="90000"/>
              </a:lnSpc>
              <a:spcBef>
                <a:spcPts val="0"/>
              </a:spcBef>
              <a:spcAft>
                <a:spcPts val="0"/>
              </a:spcAft>
              <a:buSzPts val="1400"/>
              <a:buNone/>
              <a:defRPr/>
            </a:lvl6pPr>
            <a:lvl7pPr lvl="6" rtl="0">
              <a:lnSpc>
                <a:spcPct val="90000"/>
              </a:lnSpc>
              <a:spcBef>
                <a:spcPts val="0"/>
              </a:spcBef>
              <a:spcAft>
                <a:spcPts val="0"/>
              </a:spcAft>
              <a:buSzPts val="1400"/>
              <a:buNone/>
              <a:defRPr/>
            </a:lvl7pPr>
            <a:lvl8pPr lvl="7" rtl="0">
              <a:lnSpc>
                <a:spcPct val="90000"/>
              </a:lnSpc>
              <a:spcBef>
                <a:spcPts val="0"/>
              </a:spcBef>
              <a:spcAft>
                <a:spcPts val="0"/>
              </a:spcAft>
              <a:buSzPts val="1400"/>
              <a:buNone/>
              <a:defRPr/>
            </a:lvl8pPr>
            <a:lvl9pPr lvl="8" rtl="0">
              <a:lnSpc>
                <a:spcPct val="90000"/>
              </a:lnSpc>
              <a:spcBef>
                <a:spcPts val="0"/>
              </a:spcBef>
              <a:spcAft>
                <a:spcPts val="0"/>
              </a:spcAft>
              <a:buSzPts val="1400"/>
              <a:buNone/>
              <a:defRPr/>
            </a:lvl9pPr>
          </a:lstStyle>
          <a:p>
            <a:endParaRPr/>
          </a:p>
        </p:txBody>
      </p:sp>
      <p:sp>
        <p:nvSpPr>
          <p:cNvPr id="3" name="TextBox 2">
            <a:extLst>
              <a:ext uri="{FF2B5EF4-FFF2-40B4-BE49-F238E27FC236}">
                <a16:creationId xmlns:a16="http://schemas.microsoft.com/office/drawing/2014/main" id="{16392E88-D908-474C-BF42-F7A49125F259}"/>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28788181"/>
      </p:ext>
    </p:extLst>
  </p:cSld>
  <p:clrMap bg1="lt1" tx1="dk1" bg2="dk2" tx2="lt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notesSlide" Target="../notesSlides/notesSlide10.xml"/><Relationship Id="rId7" Type="http://schemas.openxmlformats.org/officeDocument/2006/relationships/image" Target="../media/image78.png"/><Relationship Id="rId2" Type="http://schemas.openxmlformats.org/officeDocument/2006/relationships/slideLayout" Target="../slideLayouts/slideLayout323.xml"/><Relationship Id="rId1" Type="http://schemas.openxmlformats.org/officeDocument/2006/relationships/tags" Target="../tags/tag18.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emf"/><Relationship Id="rId10" Type="http://schemas.openxmlformats.org/officeDocument/2006/relationships/image" Target="../media/image81.jpeg"/><Relationship Id="rId4" Type="http://schemas.openxmlformats.org/officeDocument/2006/relationships/image" Target="../media/image55.png"/><Relationship Id="rId9" Type="http://schemas.openxmlformats.org/officeDocument/2006/relationships/image" Target="../media/image8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23.xml"/><Relationship Id="rId1" Type="http://schemas.openxmlformats.org/officeDocument/2006/relationships/tags" Target="../tags/tag19.xml"/><Relationship Id="rId5" Type="http://schemas.openxmlformats.org/officeDocument/2006/relationships/image" Target="../media/image58.png"/><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23.xml"/><Relationship Id="rId1" Type="http://schemas.openxmlformats.org/officeDocument/2006/relationships/tags" Target="../tags/tag20.xml"/><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2.xml"/><Relationship Id="rId1" Type="http://schemas.openxmlformats.org/officeDocument/2006/relationships/tags" Target="../tags/tag21.xml"/><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2.xml"/><Relationship Id="rId1" Type="http://schemas.openxmlformats.org/officeDocument/2006/relationships/tags" Target="../tags/tag22.xml"/><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2.xml"/><Relationship Id="rId1" Type="http://schemas.openxmlformats.org/officeDocument/2006/relationships/tags" Target="../tags/tag24.xml"/></Relationships>
</file>

<file path=ppt/slides/_rels/slide1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17.xml"/><Relationship Id="rId7" Type="http://schemas.openxmlformats.org/officeDocument/2006/relationships/image" Target="../media/image88.svg"/><Relationship Id="rId2" Type="http://schemas.openxmlformats.org/officeDocument/2006/relationships/slideLayout" Target="../slideLayouts/slideLayout32.xml"/><Relationship Id="rId1" Type="http://schemas.openxmlformats.org/officeDocument/2006/relationships/tags" Target="../tags/tag25.xml"/><Relationship Id="rId6" Type="http://schemas.openxmlformats.org/officeDocument/2006/relationships/image" Target="../media/image87.png"/><Relationship Id="rId11" Type="http://schemas.openxmlformats.org/officeDocument/2006/relationships/image" Target="../media/image92.svg"/><Relationship Id="rId5" Type="http://schemas.openxmlformats.org/officeDocument/2006/relationships/image" Target="../media/image86.sv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2.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2.xml"/><Relationship Id="rId1" Type="http://schemas.openxmlformats.org/officeDocument/2006/relationships/tags" Target="../tags/tag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2.xml"/><Relationship Id="rId1" Type="http://schemas.openxmlformats.org/officeDocument/2006/relationships/tags" Target="../tags/tag2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96.svg"/><Relationship Id="rId2" Type="http://schemas.openxmlformats.org/officeDocument/2006/relationships/slideLayout" Target="../slideLayouts/slideLayout24.xml"/><Relationship Id="rId1" Type="http://schemas.openxmlformats.org/officeDocument/2006/relationships/tags" Target="../tags/tag29.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2.xml"/><Relationship Id="rId1" Type="http://schemas.openxmlformats.org/officeDocument/2006/relationships/tags" Target="../tags/tag31.xml"/></Relationships>
</file>

<file path=ppt/slides/_rels/slide24.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8.svg"/><Relationship Id="rId3" Type="http://schemas.openxmlformats.org/officeDocument/2006/relationships/notesSlide" Target="../notesSlides/notesSlide24.xml"/><Relationship Id="rId7" Type="http://schemas.openxmlformats.org/officeDocument/2006/relationships/image" Target="../media/image88.svg"/><Relationship Id="rId12" Type="http://schemas.openxmlformats.org/officeDocument/2006/relationships/image" Target="../media/image97.png"/><Relationship Id="rId2" Type="http://schemas.openxmlformats.org/officeDocument/2006/relationships/slideLayout" Target="../slideLayouts/slideLayout32.xml"/><Relationship Id="rId1" Type="http://schemas.openxmlformats.org/officeDocument/2006/relationships/tags" Target="../tags/tag32.xml"/><Relationship Id="rId6" Type="http://schemas.openxmlformats.org/officeDocument/2006/relationships/image" Target="../media/image87.png"/><Relationship Id="rId11" Type="http://schemas.openxmlformats.org/officeDocument/2006/relationships/image" Target="../media/image92.svg"/><Relationship Id="rId5" Type="http://schemas.openxmlformats.org/officeDocument/2006/relationships/image" Target="../media/image86.svg"/><Relationship Id="rId15" Type="http://schemas.openxmlformats.org/officeDocument/2006/relationships/image" Target="../media/image100.sv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svg"/><Relationship Id="rId14" Type="http://schemas.openxmlformats.org/officeDocument/2006/relationships/image" Target="../media/image9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2.xml"/><Relationship Id="rId1" Type="http://schemas.openxmlformats.org/officeDocument/2006/relationships/tags" Target="../tags/tag33.xml"/><Relationship Id="rId4" Type="http://schemas.openxmlformats.org/officeDocument/2006/relationships/image" Target="../media/image10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2.xml"/><Relationship Id="rId1" Type="http://schemas.openxmlformats.org/officeDocument/2006/relationships/tags" Target="../tags/tag34.xml"/><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2.xml"/><Relationship Id="rId1" Type="http://schemas.openxmlformats.org/officeDocument/2006/relationships/tags" Target="../tags/tag35.xml"/><Relationship Id="rId4" Type="http://schemas.openxmlformats.org/officeDocument/2006/relationships/image" Target="../media/image10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96.svg"/><Relationship Id="rId2" Type="http://schemas.openxmlformats.org/officeDocument/2006/relationships/slideLayout" Target="../slideLayouts/slideLayout24.xml"/><Relationship Id="rId1" Type="http://schemas.openxmlformats.org/officeDocument/2006/relationships/tags" Target="../tags/tag36.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2.xml"/><Relationship Id="rId1" Type="http://schemas.openxmlformats.org/officeDocument/2006/relationships/tags" Target="../tags/tag3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1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96.svg"/><Relationship Id="rId2" Type="http://schemas.openxmlformats.org/officeDocument/2006/relationships/slideLayout" Target="../slideLayouts/slideLayout24.xml"/><Relationship Id="rId1" Type="http://schemas.openxmlformats.org/officeDocument/2006/relationships/tags" Target="../tags/tag38.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3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2.xml"/><Relationship Id="rId1" Type="http://schemas.openxmlformats.org/officeDocument/2006/relationships/tags" Target="../tags/tag4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2.xml"/><Relationship Id="rId1" Type="http://schemas.openxmlformats.org/officeDocument/2006/relationships/tags" Target="../tags/tag41.xml"/><Relationship Id="rId4" Type="http://schemas.openxmlformats.org/officeDocument/2006/relationships/image" Target="../media/image10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2.xml"/><Relationship Id="rId1" Type="http://schemas.openxmlformats.org/officeDocument/2006/relationships/tags" Target="../tags/tag42.xml"/><Relationship Id="rId4" Type="http://schemas.openxmlformats.org/officeDocument/2006/relationships/image" Target="../media/image105.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2.xml"/><Relationship Id="rId1" Type="http://schemas.openxmlformats.org/officeDocument/2006/relationships/tags" Target="../tags/tag43.xml"/><Relationship Id="rId4" Type="http://schemas.openxmlformats.org/officeDocument/2006/relationships/image" Target="../media/image10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2.xml"/><Relationship Id="rId1" Type="http://schemas.openxmlformats.org/officeDocument/2006/relationships/tags" Target="../tags/tag44.xml"/><Relationship Id="rId5" Type="http://schemas.openxmlformats.org/officeDocument/2006/relationships/image" Target="../media/image108.png"/><Relationship Id="rId4" Type="http://schemas.openxmlformats.org/officeDocument/2006/relationships/image" Target="../media/image10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2.xml"/><Relationship Id="rId1" Type="http://schemas.openxmlformats.org/officeDocument/2006/relationships/tags" Target="../tags/tag45.xml"/><Relationship Id="rId5" Type="http://schemas.openxmlformats.org/officeDocument/2006/relationships/image" Target="../media/image110.png"/><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2.xml"/><Relationship Id="rId1" Type="http://schemas.openxmlformats.org/officeDocument/2006/relationships/tags" Target="../tags/tag4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96.svg"/><Relationship Id="rId2" Type="http://schemas.openxmlformats.org/officeDocument/2006/relationships/slideLayout" Target="../slideLayouts/slideLayout24.xml"/><Relationship Id="rId1" Type="http://schemas.openxmlformats.org/officeDocument/2006/relationships/tags" Target="../tags/tag47.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2.xml"/><Relationship Id="rId4" Type="http://schemas.openxmlformats.org/officeDocument/2006/relationships/hyperlink" Target="https://learn.microsoft.com/en-us/azure/load-testing/overview-what-is-azure-load-testing"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96.svg"/><Relationship Id="rId2" Type="http://schemas.openxmlformats.org/officeDocument/2006/relationships/slideLayout" Target="../slideLayouts/slideLayout24.xml"/><Relationship Id="rId1" Type="http://schemas.openxmlformats.org/officeDocument/2006/relationships/tags" Target="../tags/tag48.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1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hyperlink" Target="https://github.com/microsoft/TechExcel-Implementing-DevOps-practices-to-accelerate-developer-productivity/blob/2c93ecf8091d807ff2164d7fd6e6a9bb3f7cb1f0/Coach/Solution/Exercise-04/Task-2/Exercise%204%20Task%202%20Steps%201-2%20Video%20Demonstration.mp4"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75.emf"/><Relationship Id="rId2" Type="http://schemas.openxmlformats.org/officeDocument/2006/relationships/slideLayout" Target="../slideLayouts/slideLayout323.xml"/><Relationship Id="rId1" Type="http://schemas.openxmlformats.org/officeDocument/2006/relationships/tags" Target="../tags/tag17.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859BDD3-BADD-7266-4C01-246DC0D1A100}"/>
              </a:ext>
            </a:extLst>
          </p:cNvPr>
          <p:cNvSpPr>
            <a:spLocks noGrp="1"/>
          </p:cNvSpPr>
          <p:nvPr>
            <p:ph type="title" idx="4294967295"/>
          </p:nvPr>
        </p:nvSpPr>
        <p:spPr>
          <a:xfrm>
            <a:off x="563563" y="4813300"/>
            <a:ext cx="10853737" cy="65722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buFont typeface="Wingdings" panose="05000000000000000000" pitchFamily="2" charset="2"/>
              <a:defRPr/>
            </a:pPr>
            <a:r>
              <a:rPr lang="en-US" spc="0" dirty="0">
                <a:ln>
                  <a:noFill/>
                </a:ln>
                <a:solidFill>
                  <a:schemeClr val="bg1"/>
                </a:solidFill>
                <a:ea typeface="+mn-lt"/>
                <a:cs typeface="Segoe UI"/>
              </a:rPr>
              <a:t>TechExcel: Implementing DevOps practices to accelerate developer productivity</a:t>
            </a:r>
          </a:p>
        </p:txBody>
      </p:sp>
      <p:sp>
        <p:nvSpPr>
          <p:cNvPr id="2" name="Text Placeholder 7">
            <a:extLst>
              <a:ext uri="{FF2B5EF4-FFF2-40B4-BE49-F238E27FC236}">
                <a16:creationId xmlns:a16="http://schemas.microsoft.com/office/drawing/2014/main" id="{F22BD4A7-6CCB-093D-A9B3-2EB8855D17DC}"/>
              </a:ext>
            </a:extLst>
          </p:cNvPr>
          <p:cNvSpPr>
            <a:spLocks noGrp="1"/>
          </p:cNvSpPr>
          <p:nvPr>
            <p:ph type="body" sz="quarter" idx="11"/>
          </p:nvPr>
        </p:nvSpPr>
        <p:spPr>
          <a:xfrm>
            <a:off x="563498" y="5651186"/>
            <a:ext cx="6485001" cy="369332"/>
          </a:xfrm>
        </p:spPr>
        <p:txBody>
          <a:bodyPr/>
          <a:lstStyle/>
          <a:p>
            <a:r>
              <a:rPr lang="en-US"/>
              <a:t>Day Two</a:t>
            </a:r>
            <a:endParaRPr lang="en-US" noProof="0" dirty="0"/>
          </a:p>
        </p:txBody>
      </p:sp>
    </p:spTree>
    <p:custDataLst>
      <p:tags r:id="rId1"/>
    </p:custDataLst>
    <p:extLst>
      <p:ext uri="{BB962C8B-B14F-4D97-AF65-F5344CB8AC3E}">
        <p14:creationId xmlns:p14="http://schemas.microsoft.com/office/powerpoint/2010/main" val="40468854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3E59-3182-47FB-8426-072C1D1AC0C0}"/>
              </a:ext>
            </a:extLst>
          </p:cNvPr>
          <p:cNvSpPr>
            <a:spLocks noGrp="1"/>
          </p:cNvSpPr>
          <p:nvPr>
            <p:ph type="title"/>
          </p:nvPr>
        </p:nvSpPr>
        <p:spPr>
          <a:xfrm>
            <a:off x="759520" y="553357"/>
            <a:ext cx="10662047" cy="705304"/>
          </a:xfrm>
        </p:spPr>
        <p:txBody>
          <a:bodyPr/>
          <a:lstStyle/>
          <a:p>
            <a:r>
              <a:rPr lang="en-US"/>
              <a:t>Develop apps securely with a unified solution from Microsoft</a:t>
            </a:r>
          </a:p>
        </p:txBody>
      </p:sp>
      <p:grpSp>
        <p:nvGrpSpPr>
          <p:cNvPr id="6" name="Group 5">
            <a:extLst>
              <a:ext uri="{FF2B5EF4-FFF2-40B4-BE49-F238E27FC236}">
                <a16:creationId xmlns:a16="http://schemas.microsoft.com/office/drawing/2014/main" id="{4CBCB3FF-3D55-4236-A72A-43E21AF0C586}"/>
              </a:ext>
              <a:ext uri="{C183D7F6-B498-43B3-948B-1728B52AA6E4}">
                <adec:decorative xmlns:adec="http://schemas.microsoft.com/office/drawing/2017/decorative" val="1"/>
              </a:ext>
            </a:extLst>
          </p:cNvPr>
          <p:cNvGrpSpPr/>
          <p:nvPr/>
        </p:nvGrpSpPr>
        <p:grpSpPr>
          <a:xfrm>
            <a:off x="9426" y="-3437"/>
            <a:ext cx="12173149" cy="6861437"/>
            <a:chOff x="9426" y="-3437"/>
            <a:chExt cx="12173149" cy="6861437"/>
          </a:xfrm>
        </p:grpSpPr>
        <p:cxnSp>
          <p:nvCxnSpPr>
            <p:cNvPr id="128" name="Straight Connector 127">
              <a:extLst>
                <a:ext uri="{FF2B5EF4-FFF2-40B4-BE49-F238E27FC236}">
                  <a16:creationId xmlns:a16="http://schemas.microsoft.com/office/drawing/2014/main" id="{F910FD47-616A-4BED-BABD-1B50E1633F11}"/>
                </a:ext>
                <a:ext uri="{C183D7F6-B498-43B3-948B-1728B52AA6E4}">
                  <adec:decorative xmlns:adec="http://schemas.microsoft.com/office/drawing/2017/decorative" val="1"/>
                </a:ext>
              </a:extLst>
            </p:cNvPr>
            <p:cNvCxnSpPr>
              <a:cxnSpLocks/>
            </p:cNvCxnSpPr>
            <p:nvPr/>
          </p:nvCxnSpPr>
          <p:spPr>
            <a:xfrm>
              <a:off x="576254" y="-3437"/>
              <a:ext cx="0" cy="1491718"/>
            </a:xfrm>
            <a:prstGeom prst="line">
              <a:avLst/>
            </a:prstGeom>
            <a:ln w="127000">
              <a:gradFill flip="none" rotWithShape="1">
                <a:gsLst>
                  <a:gs pos="5000">
                    <a:srgbClr val="1F9CF0"/>
                  </a:gs>
                  <a:gs pos="100000">
                    <a:srgbClr val="D59DFF"/>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132" name="Picture 131">
              <a:extLst>
                <a:ext uri="{FF2B5EF4-FFF2-40B4-BE49-F238E27FC236}">
                  <a16:creationId xmlns:a16="http://schemas.microsoft.com/office/drawing/2014/main" id="{B9BF75D2-7C35-4B76-9120-FE7BC83A8416}"/>
                </a:ext>
                <a:ext uri="{C183D7F6-B498-43B3-948B-1728B52AA6E4}">
                  <adec:decorative xmlns:adec="http://schemas.microsoft.com/office/drawing/2017/decorative" val="1"/>
                </a:ext>
              </a:extLst>
            </p:cNvPr>
            <p:cNvPicPr>
              <a:picLocks noChangeAspect="1"/>
            </p:cNvPicPr>
            <p:nvPr/>
          </p:nvPicPr>
          <p:blipFill rotWithShape="1">
            <a:blip r:embed="rId4">
              <a:alphaModFix amt="30000"/>
              <a:extLst>
                <a:ext uri="{28A0092B-C50C-407E-A947-70E740481C1C}">
                  <a14:useLocalDpi xmlns:a14="http://schemas.microsoft.com/office/drawing/2010/main" val="0"/>
                </a:ext>
              </a:extLst>
            </a:blip>
            <a:srcRect r="85570"/>
            <a:stretch/>
          </p:blipFill>
          <p:spPr>
            <a:xfrm>
              <a:off x="11458711" y="0"/>
              <a:ext cx="723864" cy="4881348"/>
            </a:xfrm>
            <a:prstGeom prst="rect">
              <a:avLst/>
            </a:prstGeom>
          </p:spPr>
        </p:pic>
        <p:pic>
          <p:nvPicPr>
            <p:cNvPr id="133" name="Picture 132">
              <a:extLst>
                <a:ext uri="{FF2B5EF4-FFF2-40B4-BE49-F238E27FC236}">
                  <a16:creationId xmlns:a16="http://schemas.microsoft.com/office/drawing/2014/main" id="{73DD2F60-A822-4C62-8957-308999F70DF7}"/>
                </a:ext>
                <a:ext uri="{C183D7F6-B498-43B3-948B-1728B52AA6E4}">
                  <adec:decorative xmlns:adec="http://schemas.microsoft.com/office/drawing/2017/decorative" val="1"/>
                </a:ext>
              </a:extLst>
            </p:cNvPr>
            <p:cNvPicPr>
              <a:picLocks noChangeAspect="1"/>
            </p:cNvPicPr>
            <p:nvPr/>
          </p:nvPicPr>
          <p:blipFill rotWithShape="1">
            <a:blip r:embed="rId4">
              <a:alphaModFix amt="30000"/>
              <a:extLst>
                <a:ext uri="{28A0092B-C50C-407E-A947-70E740481C1C}">
                  <a14:useLocalDpi xmlns:a14="http://schemas.microsoft.com/office/drawing/2010/main" val="0"/>
                </a:ext>
              </a:extLst>
            </a:blip>
            <a:srcRect r="85570"/>
            <a:stretch/>
          </p:blipFill>
          <p:spPr>
            <a:xfrm rot="10800000">
              <a:off x="9426" y="1976652"/>
              <a:ext cx="723864" cy="4881348"/>
            </a:xfrm>
            <a:prstGeom prst="rect">
              <a:avLst/>
            </a:prstGeom>
          </p:spPr>
        </p:pic>
      </p:grpSp>
      <p:sp>
        <p:nvSpPr>
          <p:cNvPr id="198" name="Rectangle 197">
            <a:extLst>
              <a:ext uri="{FF2B5EF4-FFF2-40B4-BE49-F238E27FC236}">
                <a16:creationId xmlns:a16="http://schemas.microsoft.com/office/drawing/2014/main" id="{04BB47C7-B4D6-45DB-B055-3EC08E12EE40}"/>
              </a:ext>
            </a:extLst>
          </p:cNvPr>
          <p:cNvSpPr/>
          <p:nvPr/>
        </p:nvSpPr>
        <p:spPr>
          <a:xfrm>
            <a:off x="841162" y="1779122"/>
            <a:ext cx="516857" cy="2053077"/>
          </a:xfrm>
          <a:prstGeom prst="rect">
            <a:avLst/>
          </a:prstGeom>
          <a:gradFill flip="none" rotWithShape="1">
            <a:gsLst>
              <a:gs pos="0">
                <a:schemeClr val="accent3">
                  <a:alpha val="40000"/>
                </a:schemeClr>
              </a:gs>
              <a:gs pos="100000">
                <a:srgbClr val="0070C0">
                  <a:alpha val="4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a:ea typeface="+mn-ea"/>
                <a:cs typeface="+mn-cs"/>
              </a:rPr>
              <a:t>Dev</a:t>
            </a:r>
          </a:p>
        </p:txBody>
      </p:sp>
      <p:grpSp>
        <p:nvGrpSpPr>
          <p:cNvPr id="267" name="Group 266">
            <a:extLst>
              <a:ext uri="{FF2B5EF4-FFF2-40B4-BE49-F238E27FC236}">
                <a16:creationId xmlns:a16="http://schemas.microsoft.com/office/drawing/2014/main" id="{F95D4093-594F-42FE-80D7-8048512A0831}"/>
              </a:ext>
              <a:ext uri="{C183D7F6-B498-43B3-948B-1728B52AA6E4}">
                <adec:decorative xmlns:adec="http://schemas.microsoft.com/office/drawing/2017/decorative" val="1"/>
              </a:ext>
            </a:extLst>
          </p:cNvPr>
          <p:cNvGrpSpPr/>
          <p:nvPr/>
        </p:nvGrpSpPr>
        <p:grpSpPr>
          <a:xfrm>
            <a:off x="1358018" y="1793875"/>
            <a:ext cx="9986157" cy="2031913"/>
            <a:chOff x="1358018" y="1793875"/>
            <a:chExt cx="9986157" cy="2031913"/>
          </a:xfrm>
        </p:grpSpPr>
        <p:grpSp>
          <p:nvGrpSpPr>
            <p:cNvPr id="268" name="Group 267">
              <a:extLst>
                <a:ext uri="{FF2B5EF4-FFF2-40B4-BE49-F238E27FC236}">
                  <a16:creationId xmlns:a16="http://schemas.microsoft.com/office/drawing/2014/main" id="{A3A17BB7-67F6-4DC8-B983-FB733105A037}"/>
                </a:ext>
                <a:ext uri="{C183D7F6-B498-43B3-948B-1728B52AA6E4}">
                  <adec:decorative xmlns:adec="http://schemas.microsoft.com/office/drawing/2017/decorative" val="1"/>
                </a:ext>
              </a:extLst>
            </p:cNvPr>
            <p:cNvGrpSpPr/>
            <p:nvPr/>
          </p:nvGrpSpPr>
          <p:grpSpPr>
            <a:xfrm>
              <a:off x="1358018" y="1793875"/>
              <a:ext cx="9986157" cy="2031913"/>
              <a:chOff x="1358018" y="1793875"/>
              <a:chExt cx="9986157" cy="2031913"/>
            </a:xfrm>
          </p:grpSpPr>
          <p:sp>
            <p:nvSpPr>
              <p:cNvPr id="275" name="Rounded Rectangle 32">
                <a:extLst>
                  <a:ext uri="{FF2B5EF4-FFF2-40B4-BE49-F238E27FC236}">
                    <a16:creationId xmlns:a16="http://schemas.microsoft.com/office/drawing/2014/main" id="{133FEE02-8327-4F50-8A72-4C28C4E2DCF9}"/>
                  </a:ext>
                  <a:ext uri="{C183D7F6-B498-43B3-948B-1728B52AA6E4}">
                    <adec:decorative xmlns:adec="http://schemas.microsoft.com/office/drawing/2017/decorative" val="1"/>
                  </a:ext>
                </a:extLst>
              </p:cNvPr>
              <p:cNvSpPr/>
              <p:nvPr/>
            </p:nvSpPr>
            <p:spPr bwMode="auto">
              <a:xfrm>
                <a:off x="1476529" y="2078809"/>
                <a:ext cx="2015416" cy="709238"/>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276" name="Rounded Rectangle 32">
                <a:extLst>
                  <a:ext uri="{FF2B5EF4-FFF2-40B4-BE49-F238E27FC236}">
                    <a16:creationId xmlns:a16="http://schemas.microsoft.com/office/drawing/2014/main" id="{815CDD1A-6FBD-4D15-BFB0-77D4DB8AEA4D}"/>
                  </a:ext>
                  <a:ext uri="{C183D7F6-B498-43B3-948B-1728B52AA6E4}">
                    <adec:decorative xmlns:adec="http://schemas.microsoft.com/office/drawing/2017/decorative" val="1"/>
                  </a:ext>
                </a:extLst>
              </p:cNvPr>
              <p:cNvSpPr>
                <a:spLocks/>
              </p:cNvSpPr>
              <p:nvPr/>
            </p:nvSpPr>
            <p:spPr bwMode="auto">
              <a:xfrm>
                <a:off x="1476529" y="2865438"/>
                <a:ext cx="2015416" cy="662516"/>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277" name="Rectangle 4">
                <a:extLst>
                  <a:ext uri="{FF2B5EF4-FFF2-40B4-BE49-F238E27FC236}">
                    <a16:creationId xmlns:a16="http://schemas.microsoft.com/office/drawing/2014/main" id="{D16DD73B-37D6-4B8D-97C6-0AF0D1FB2C8B}"/>
                  </a:ext>
                  <a:ext uri="{C183D7F6-B498-43B3-948B-1728B52AA6E4}">
                    <adec:decorative xmlns:adec="http://schemas.microsoft.com/office/drawing/2017/decorative" val="1"/>
                  </a:ext>
                </a:extLst>
              </p:cNvPr>
              <p:cNvSpPr>
                <a:spLocks/>
              </p:cNvSpPr>
              <p:nvPr/>
            </p:nvSpPr>
            <p:spPr bwMode="auto">
              <a:xfrm>
                <a:off x="1358018" y="1793875"/>
                <a:ext cx="9986157" cy="2031913"/>
              </a:xfrm>
              <a:custGeom>
                <a:avLst/>
                <a:gdLst>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 name="connsiteX4" fmla="*/ 0 w 16012886"/>
                  <a:gd name="connsiteY4" fmla="*/ 0 h 3251061"/>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 name="connsiteX4" fmla="*/ 91440 w 16012886"/>
                  <a:gd name="connsiteY4" fmla="*/ 91440 h 3251061"/>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Lst>
                <a:ahLst/>
                <a:cxnLst>
                  <a:cxn ang="0">
                    <a:pos x="connsiteX0" y="connsiteY0"/>
                  </a:cxn>
                  <a:cxn ang="0">
                    <a:pos x="connsiteX1" y="connsiteY1"/>
                  </a:cxn>
                  <a:cxn ang="0">
                    <a:pos x="connsiteX2" y="connsiteY2"/>
                  </a:cxn>
                  <a:cxn ang="0">
                    <a:pos x="connsiteX3" y="connsiteY3"/>
                  </a:cxn>
                </a:cxnLst>
                <a:rect l="l" t="t" r="r" b="b"/>
                <a:pathLst>
                  <a:path w="16012886" h="3251061">
                    <a:moveTo>
                      <a:pt x="0" y="0"/>
                    </a:moveTo>
                    <a:lnTo>
                      <a:pt x="16012886" y="0"/>
                    </a:lnTo>
                    <a:lnTo>
                      <a:pt x="16012886" y="3251061"/>
                    </a:lnTo>
                    <a:lnTo>
                      <a:pt x="0" y="3251061"/>
                    </a:lnTo>
                  </a:path>
                </a:pathLst>
              </a:custGeom>
              <a:noFill/>
              <a:ln w="25400" cap="flat" cmpd="sng" algn="ctr">
                <a:solidFill>
                  <a:schemeClr val="bg1">
                    <a:alpha val="15000"/>
                  </a:schemeClr>
                </a:solidFill>
                <a:prstDash val="solid"/>
                <a:headEnd type="none" w="med" len="med"/>
                <a:tailEnd type="none" w="med" len="med"/>
              </a:ln>
              <a:effectLst/>
            </p:spPr>
            <p:txBody>
              <a:bodyPr rot="0" spcFirstLastPara="0" vertOverflow="overflow" horzOverflow="overflow" vert="horz" wrap="square" lIns="182598" tIns="146078" rIns="182598" bIns="146078" numCol="1" spcCol="0" rtlCol="0" fromWordArt="0" anchor="t" anchorCtr="0" forceAA="0" compatLnSpc="1">
                <a:prstTxWarp prst="textNoShape">
                  <a:avLst/>
                </a:prstTxWarp>
                <a:noAutofit/>
              </a:bodyPr>
              <a:lstStyle/>
              <a:p>
                <a:pPr marL="0" marR="0" lvl="0" indent="0" algn="l" defTabSz="931015" rtl="0" eaLnBrk="1" fontAlgn="base" latinLnBrk="0" hangingPunct="1">
                  <a:lnSpc>
                    <a:spcPct val="100000"/>
                  </a:lnSpc>
                  <a:spcBef>
                    <a:spcPct val="0"/>
                  </a:spcBef>
                  <a:spcAft>
                    <a:spcPct val="0"/>
                  </a:spcAft>
                  <a:buClr>
                    <a:srgbClr val="000000"/>
                  </a:buClr>
                  <a:buSzTx/>
                  <a:buFontTx/>
                  <a:buNone/>
                  <a:tabLst/>
                  <a:defRPr/>
                </a:pPr>
                <a:endParaRPr kumimoji="0" lang="en-US" sz="1997" b="0" i="0" u="none" strike="noStrike" kern="0" cap="none" spc="0" normalizeH="0" baseline="0" noProof="0" err="1">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sym typeface="Arial"/>
                </a:endParaRPr>
              </a:p>
            </p:txBody>
          </p:sp>
          <p:sp>
            <p:nvSpPr>
              <p:cNvPr id="278" name="Rounded Rectangle 32">
                <a:extLst>
                  <a:ext uri="{FF2B5EF4-FFF2-40B4-BE49-F238E27FC236}">
                    <a16:creationId xmlns:a16="http://schemas.microsoft.com/office/drawing/2014/main" id="{C015AA30-2FD5-4EA9-9E98-F4DB79D125C9}"/>
                  </a:ext>
                  <a:ext uri="{C183D7F6-B498-43B3-948B-1728B52AA6E4}">
                    <adec:decorative xmlns:adec="http://schemas.microsoft.com/office/drawing/2017/decorative" val="1"/>
                  </a:ext>
                </a:extLst>
              </p:cNvPr>
              <p:cNvSpPr/>
              <p:nvPr/>
            </p:nvSpPr>
            <p:spPr bwMode="auto">
              <a:xfrm>
                <a:off x="5624197" y="2078810"/>
                <a:ext cx="4079777" cy="1449144"/>
              </a:xfrm>
              <a:prstGeom prst="rect">
                <a:avLst/>
              </a:prstGeom>
              <a:gradFill flip="none" rotWithShape="1">
                <a:gsLst>
                  <a:gs pos="0">
                    <a:schemeClr val="accent3">
                      <a:alpha val="40000"/>
                    </a:schemeClr>
                  </a:gs>
                  <a:gs pos="100000">
                    <a:srgbClr val="0070C0">
                      <a:alpha val="4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Helvetica"/>
                  <a:ea typeface="+mn-ea"/>
                  <a:cs typeface="+mn-cs"/>
                </a:endParaRPr>
              </a:p>
            </p:txBody>
          </p:sp>
          <p:sp>
            <p:nvSpPr>
              <p:cNvPr id="279" name="Rounded Rectangle 32">
                <a:extLst>
                  <a:ext uri="{FF2B5EF4-FFF2-40B4-BE49-F238E27FC236}">
                    <a16:creationId xmlns:a16="http://schemas.microsoft.com/office/drawing/2014/main" id="{9E994D4F-3492-4BA0-8576-7BE051BDAE62}"/>
                  </a:ext>
                  <a:ext uri="{C183D7F6-B498-43B3-948B-1728B52AA6E4}">
                    <adec:decorative xmlns:adec="http://schemas.microsoft.com/office/drawing/2017/decorative" val="1"/>
                  </a:ext>
                </a:extLst>
              </p:cNvPr>
              <p:cNvSpPr/>
              <p:nvPr/>
            </p:nvSpPr>
            <p:spPr bwMode="auto">
              <a:xfrm>
                <a:off x="3542733" y="2078809"/>
                <a:ext cx="995570"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280" name="Rounded Rectangle 32">
                <a:extLst>
                  <a:ext uri="{FF2B5EF4-FFF2-40B4-BE49-F238E27FC236}">
                    <a16:creationId xmlns:a16="http://schemas.microsoft.com/office/drawing/2014/main" id="{41CCE043-AF28-4C5C-8E49-2245571D2432}"/>
                  </a:ext>
                  <a:ext uri="{C183D7F6-B498-43B3-948B-1728B52AA6E4}">
                    <adec:decorative xmlns:adec="http://schemas.microsoft.com/office/drawing/2017/decorative" val="1"/>
                  </a:ext>
                </a:extLst>
              </p:cNvPr>
              <p:cNvSpPr/>
              <p:nvPr/>
            </p:nvSpPr>
            <p:spPr bwMode="auto">
              <a:xfrm>
                <a:off x="10482898" y="2078810"/>
                <a:ext cx="762358" cy="1449144"/>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281" name="Rounded Rectangle 32">
                <a:extLst>
                  <a:ext uri="{FF2B5EF4-FFF2-40B4-BE49-F238E27FC236}">
                    <a16:creationId xmlns:a16="http://schemas.microsoft.com/office/drawing/2014/main" id="{9D39698A-6939-4B48-9E3F-050CB077A451}"/>
                  </a:ext>
                  <a:ext uri="{C183D7F6-B498-43B3-948B-1728B52AA6E4}">
                    <adec:decorative xmlns:adec="http://schemas.microsoft.com/office/drawing/2017/decorative" val="1"/>
                  </a:ext>
                </a:extLst>
              </p:cNvPr>
              <p:cNvSpPr/>
              <p:nvPr/>
            </p:nvSpPr>
            <p:spPr bwMode="auto">
              <a:xfrm>
                <a:off x="4577839" y="2078809"/>
                <a:ext cx="995570"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282" name="Rounded Rectangle 32">
                <a:extLst>
                  <a:ext uri="{FF2B5EF4-FFF2-40B4-BE49-F238E27FC236}">
                    <a16:creationId xmlns:a16="http://schemas.microsoft.com/office/drawing/2014/main" id="{B919F50C-2FFE-4151-B46F-979CBBDD413D}"/>
                  </a:ext>
                  <a:ext uri="{C183D7F6-B498-43B3-948B-1728B52AA6E4}">
                    <adec:decorative xmlns:adec="http://schemas.microsoft.com/office/drawing/2017/decorative" val="1"/>
                  </a:ext>
                </a:extLst>
              </p:cNvPr>
              <p:cNvSpPr/>
              <p:nvPr/>
            </p:nvSpPr>
            <p:spPr bwMode="auto">
              <a:xfrm>
                <a:off x="9754762" y="2078810"/>
                <a:ext cx="675992"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grpSp>
        <p:pic>
          <p:nvPicPr>
            <p:cNvPr id="269" name="Picture 268">
              <a:extLst>
                <a:ext uri="{FF2B5EF4-FFF2-40B4-BE49-F238E27FC236}">
                  <a16:creationId xmlns:a16="http://schemas.microsoft.com/office/drawing/2014/main" id="{81196BBC-0BA9-40D5-A6CD-710173424E2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831292" y="2379563"/>
              <a:ext cx="418452" cy="405772"/>
            </a:xfrm>
            <a:prstGeom prst="rect">
              <a:avLst/>
            </a:prstGeom>
          </p:spPr>
        </p:pic>
        <p:pic>
          <p:nvPicPr>
            <p:cNvPr id="270" name="Picture 269">
              <a:extLst>
                <a:ext uri="{FF2B5EF4-FFF2-40B4-BE49-F238E27FC236}">
                  <a16:creationId xmlns:a16="http://schemas.microsoft.com/office/drawing/2014/main" id="{7393E94D-7FA6-48E0-B585-5F9F1729DB1B}"/>
                </a:ext>
                <a:ext uri="{C183D7F6-B498-43B3-948B-1728B52AA6E4}">
                  <adec:decorative xmlns:adec="http://schemas.microsoft.com/office/drawing/2017/decorative" val="1"/>
                </a:ext>
              </a:extLst>
            </p:cNvPr>
            <p:cNvPicPr>
              <a:picLocks noChangeAspect="1"/>
            </p:cNvPicPr>
            <p:nvPr/>
          </p:nvPicPr>
          <p:blipFill>
            <a:blip r:embed="rId6">
              <a:clrChange>
                <a:clrFrom>
                  <a:srgbClr val="000000"/>
                </a:clrFrom>
                <a:clrTo>
                  <a:srgbClr val="000000">
                    <a:alpha val="0"/>
                  </a:srgbClr>
                </a:clrTo>
              </a:clrChange>
            </a:blip>
            <a:stretch>
              <a:fillRect/>
            </a:stretch>
          </p:blipFill>
          <p:spPr>
            <a:xfrm>
              <a:off x="10591758" y="2379404"/>
              <a:ext cx="544637" cy="544637"/>
            </a:xfrm>
            <a:prstGeom prst="rect">
              <a:avLst/>
            </a:prstGeom>
          </p:spPr>
        </p:pic>
        <p:pic>
          <p:nvPicPr>
            <p:cNvPr id="271" name="Picture 270">
              <a:extLst>
                <a:ext uri="{FF2B5EF4-FFF2-40B4-BE49-F238E27FC236}">
                  <a16:creationId xmlns:a16="http://schemas.microsoft.com/office/drawing/2014/main" id="{9A58DAD6-3A1A-48EF-B1FB-22E4546BFC5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614040" y="3002390"/>
              <a:ext cx="418452" cy="405772"/>
            </a:xfrm>
            <a:prstGeom prst="rect">
              <a:avLst/>
            </a:prstGeom>
          </p:spPr>
        </p:pic>
        <p:pic>
          <p:nvPicPr>
            <p:cNvPr id="272" name="Picture 2">
              <a:extLst>
                <a:ext uri="{FF2B5EF4-FFF2-40B4-BE49-F238E27FC236}">
                  <a16:creationId xmlns:a16="http://schemas.microsoft.com/office/drawing/2014/main" id="{467BB9D0-A0A0-4EC8-9607-BE662B8F137E}"/>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7486" y="2258576"/>
              <a:ext cx="302496" cy="302496"/>
            </a:xfrm>
            <a:prstGeom prst="rect">
              <a:avLst/>
            </a:prstGeom>
            <a:noFill/>
          </p:spPr>
        </p:pic>
        <p:pic>
          <p:nvPicPr>
            <p:cNvPr id="273" name="Picture 272">
              <a:extLst>
                <a:ext uri="{FF2B5EF4-FFF2-40B4-BE49-F238E27FC236}">
                  <a16:creationId xmlns:a16="http://schemas.microsoft.com/office/drawing/2014/main" id="{1F9873F5-C681-48AF-9C21-F7ABA834631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866398" y="2379563"/>
              <a:ext cx="418452" cy="405772"/>
            </a:xfrm>
            <a:prstGeom prst="rect">
              <a:avLst/>
            </a:prstGeom>
          </p:spPr>
        </p:pic>
        <p:pic>
          <p:nvPicPr>
            <p:cNvPr id="274" name="Picture 273">
              <a:extLst>
                <a:ext uri="{FF2B5EF4-FFF2-40B4-BE49-F238E27FC236}">
                  <a16:creationId xmlns:a16="http://schemas.microsoft.com/office/drawing/2014/main" id="{8AD179A3-6EDE-4DB4-82A4-36642F31E6A1}"/>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9812834" y="2416831"/>
              <a:ext cx="564628" cy="469781"/>
            </a:xfrm>
            <a:prstGeom prst="rect">
              <a:avLst/>
            </a:prstGeom>
          </p:spPr>
        </p:pic>
      </p:grpSp>
      <p:sp>
        <p:nvSpPr>
          <p:cNvPr id="354" name="TextBox 353">
            <a:extLst>
              <a:ext uri="{FF2B5EF4-FFF2-40B4-BE49-F238E27FC236}">
                <a16:creationId xmlns:a16="http://schemas.microsoft.com/office/drawing/2014/main" id="{CD01A5AB-A76B-4479-8F3E-D4FAE00E9324}"/>
              </a:ext>
            </a:extLst>
          </p:cNvPr>
          <p:cNvSpPr txBox="1"/>
          <p:nvPr/>
        </p:nvSpPr>
        <p:spPr>
          <a:xfrm>
            <a:off x="2148977" y="2297994"/>
            <a:ext cx="1065891" cy="265457"/>
          </a:xfrm>
          <a:prstGeom prst="rect">
            <a:avLst/>
          </a:prstGeom>
          <a:noFill/>
        </p:spPr>
        <p:txBody>
          <a:bodyPr wrap="square">
            <a:sp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err="1">
                <a:ln>
                  <a:noFill/>
                </a:ln>
                <a:solidFill>
                  <a:prstClr val="white"/>
                </a:solidFill>
                <a:effectLst/>
                <a:uLnTx/>
                <a:uFillTx/>
                <a:latin typeface="Helvetica"/>
                <a:ea typeface="Segoe UI" panose="020B0502040204020203" pitchFamily="34" charset="0"/>
                <a:cs typeface="Segoe UI" panose="020B0502040204020203" pitchFamily="34" charset="0"/>
              </a:rPr>
              <a:t>VSCode.Dev</a:t>
            </a:r>
            <a:endPar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endParaRPr>
          </a:p>
        </p:txBody>
      </p:sp>
      <p:sp>
        <p:nvSpPr>
          <p:cNvPr id="427" name="TextBox 426">
            <a:extLst>
              <a:ext uri="{FF2B5EF4-FFF2-40B4-BE49-F238E27FC236}">
                <a16:creationId xmlns:a16="http://schemas.microsoft.com/office/drawing/2014/main" id="{133F3BDC-7FFC-4E02-AB56-5C83F9D40C39}"/>
              </a:ext>
            </a:extLst>
          </p:cNvPr>
          <p:cNvSpPr txBox="1"/>
          <p:nvPr/>
        </p:nvSpPr>
        <p:spPr>
          <a:xfrm>
            <a:off x="2148976" y="3093446"/>
            <a:ext cx="1029694" cy="265457"/>
          </a:xfrm>
          <a:prstGeom prst="rect">
            <a:avLst/>
          </a:prstGeom>
          <a:noFill/>
        </p:spPr>
        <p:txBody>
          <a:bodyPr wrap="square">
            <a:sp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Codespaces</a:t>
            </a:r>
          </a:p>
        </p:txBody>
      </p:sp>
      <p:sp>
        <p:nvSpPr>
          <p:cNvPr id="495" name="TextBox 494">
            <a:extLst>
              <a:ext uri="{FF2B5EF4-FFF2-40B4-BE49-F238E27FC236}">
                <a16:creationId xmlns:a16="http://schemas.microsoft.com/office/drawing/2014/main" id="{912385D1-AAFA-4F21-8996-1A7EF0D9E2B1}"/>
              </a:ext>
            </a:extLst>
          </p:cNvPr>
          <p:cNvSpPr txBox="1"/>
          <p:nvPr/>
        </p:nvSpPr>
        <p:spPr>
          <a:xfrm>
            <a:off x="3542733" y="2909141"/>
            <a:ext cx="995570" cy="438582"/>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GitHub</a:t>
            </a:r>
            <a:b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b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Repo</a:t>
            </a:r>
          </a:p>
        </p:txBody>
      </p:sp>
      <p:sp>
        <p:nvSpPr>
          <p:cNvPr id="565" name="TextBox 564">
            <a:extLst>
              <a:ext uri="{FF2B5EF4-FFF2-40B4-BE49-F238E27FC236}">
                <a16:creationId xmlns:a16="http://schemas.microsoft.com/office/drawing/2014/main" id="{BD22C9D2-DB42-41CC-9AE9-245D36E3601A}"/>
              </a:ext>
            </a:extLst>
          </p:cNvPr>
          <p:cNvSpPr txBox="1"/>
          <p:nvPr/>
        </p:nvSpPr>
        <p:spPr>
          <a:xfrm>
            <a:off x="4577839" y="2909142"/>
            <a:ext cx="995570" cy="438582"/>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GitHub Actions</a:t>
            </a:r>
          </a:p>
        </p:txBody>
      </p:sp>
      <p:sp>
        <p:nvSpPr>
          <p:cNvPr id="633" name="TextBox 632">
            <a:extLst>
              <a:ext uri="{FF2B5EF4-FFF2-40B4-BE49-F238E27FC236}">
                <a16:creationId xmlns:a16="http://schemas.microsoft.com/office/drawing/2014/main" id="{63436177-A15F-4A9F-B742-B57E2791DBD3}"/>
              </a:ext>
            </a:extLst>
          </p:cNvPr>
          <p:cNvSpPr txBox="1"/>
          <p:nvPr/>
        </p:nvSpPr>
        <p:spPr>
          <a:xfrm>
            <a:off x="5624197" y="2222252"/>
            <a:ext cx="4079777" cy="323165"/>
          </a:xfrm>
          <a:prstGeom prst="rect">
            <a:avLst/>
          </a:prstGeom>
          <a:noFill/>
        </p:spPr>
        <p:txBody>
          <a:bodyPr wrap="square" rtlCol="0">
            <a:sp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a:ea typeface="Segoe UI" panose="020B0502040204020203" pitchFamily="34" charset="0"/>
                <a:cs typeface="Segoe UI Semibold" panose="020B0502040204020203" pitchFamily="34" charset="0"/>
              </a:rPr>
              <a:t>GitHub Advanced Security</a:t>
            </a:r>
          </a:p>
        </p:txBody>
      </p:sp>
      <p:sp>
        <p:nvSpPr>
          <p:cNvPr id="700" name="Rounded Rectangle 32">
            <a:extLst>
              <a:ext uri="{FF2B5EF4-FFF2-40B4-BE49-F238E27FC236}">
                <a16:creationId xmlns:a16="http://schemas.microsoft.com/office/drawing/2014/main" id="{1B0EC58E-9438-47DA-9C48-7F6F2BEEBD4B}"/>
              </a:ext>
            </a:extLst>
          </p:cNvPr>
          <p:cNvSpPr/>
          <p:nvPr/>
        </p:nvSpPr>
        <p:spPr bwMode="auto">
          <a:xfrm>
            <a:off x="5751421" y="2653660"/>
            <a:ext cx="1199856"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Code scanning</a:t>
            </a:r>
          </a:p>
        </p:txBody>
      </p:sp>
      <p:sp>
        <p:nvSpPr>
          <p:cNvPr id="766" name="Rounded Rectangle 32">
            <a:extLst>
              <a:ext uri="{FF2B5EF4-FFF2-40B4-BE49-F238E27FC236}">
                <a16:creationId xmlns:a16="http://schemas.microsoft.com/office/drawing/2014/main" id="{C99AC6A8-8413-432B-8074-252F19BCBA3E}"/>
              </a:ext>
            </a:extLst>
          </p:cNvPr>
          <p:cNvSpPr/>
          <p:nvPr/>
        </p:nvSpPr>
        <p:spPr bwMode="auto">
          <a:xfrm>
            <a:off x="7064157" y="2653660"/>
            <a:ext cx="1199856"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Secret scanning</a:t>
            </a:r>
          </a:p>
        </p:txBody>
      </p:sp>
      <p:sp>
        <p:nvSpPr>
          <p:cNvPr id="831" name="Rounded Rectangle 32">
            <a:extLst>
              <a:ext uri="{FF2B5EF4-FFF2-40B4-BE49-F238E27FC236}">
                <a16:creationId xmlns:a16="http://schemas.microsoft.com/office/drawing/2014/main" id="{A07AFAC9-110A-47B0-B5B7-34F91049C5F3}"/>
              </a:ext>
            </a:extLst>
          </p:cNvPr>
          <p:cNvSpPr/>
          <p:nvPr/>
        </p:nvSpPr>
        <p:spPr bwMode="auto">
          <a:xfrm>
            <a:off x="8376893" y="2653660"/>
            <a:ext cx="1199856"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Dependency scanning</a:t>
            </a:r>
          </a:p>
        </p:txBody>
      </p:sp>
      <p:sp>
        <p:nvSpPr>
          <p:cNvPr id="911" name="TextBox 910">
            <a:extLst>
              <a:ext uri="{FF2B5EF4-FFF2-40B4-BE49-F238E27FC236}">
                <a16:creationId xmlns:a16="http://schemas.microsoft.com/office/drawing/2014/main" id="{A57F6C7E-BFC9-4032-9635-71986AE2F435}"/>
              </a:ext>
            </a:extLst>
          </p:cNvPr>
          <p:cNvSpPr txBox="1"/>
          <p:nvPr/>
        </p:nvSpPr>
        <p:spPr>
          <a:xfrm>
            <a:off x="9684695" y="2912346"/>
            <a:ext cx="816126" cy="611706"/>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Container Registry</a:t>
            </a:r>
          </a:p>
        </p:txBody>
      </p:sp>
      <p:sp>
        <p:nvSpPr>
          <p:cNvPr id="957" name="TextBox 956">
            <a:extLst>
              <a:ext uri="{FF2B5EF4-FFF2-40B4-BE49-F238E27FC236}">
                <a16:creationId xmlns:a16="http://schemas.microsoft.com/office/drawing/2014/main" id="{CFE88731-3F74-4D48-A284-966442C71F3D}"/>
              </a:ext>
            </a:extLst>
          </p:cNvPr>
          <p:cNvSpPr txBox="1"/>
          <p:nvPr/>
        </p:nvSpPr>
        <p:spPr>
          <a:xfrm>
            <a:off x="10366291" y="2909142"/>
            <a:ext cx="995570" cy="265457"/>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itchFamily="34" charset="0"/>
                <a:cs typeface="Segoe UI" pitchFamily="34" charset="0"/>
              </a:rPr>
              <a:t>Azure</a:t>
            </a:r>
          </a:p>
        </p:txBody>
      </p:sp>
      <p:sp>
        <p:nvSpPr>
          <p:cNvPr id="1215" name="Rectangle 1214">
            <a:extLst>
              <a:ext uri="{FF2B5EF4-FFF2-40B4-BE49-F238E27FC236}">
                <a16:creationId xmlns:a16="http://schemas.microsoft.com/office/drawing/2014/main" id="{E8DEC400-49D6-4BEE-85EC-C78445B700DB}"/>
              </a:ext>
            </a:extLst>
          </p:cNvPr>
          <p:cNvSpPr/>
          <p:nvPr/>
        </p:nvSpPr>
        <p:spPr>
          <a:xfrm>
            <a:off x="841162" y="4146123"/>
            <a:ext cx="516857" cy="2053077"/>
          </a:xfrm>
          <a:prstGeom prst="rect">
            <a:avLst/>
          </a:prstGeom>
          <a:gradFill flip="none" rotWithShape="1">
            <a:gsLst>
              <a:gs pos="0">
                <a:schemeClr val="accent1">
                  <a:lumMod val="50000"/>
                  <a:alpha val="40000"/>
                </a:schemeClr>
              </a:gs>
              <a:gs pos="100000">
                <a:schemeClr val="accent3">
                  <a:alpha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a:ea typeface="+mn-ea"/>
                <a:cs typeface="+mn-cs"/>
              </a:rPr>
              <a:t>SecOps</a:t>
            </a:r>
          </a:p>
        </p:txBody>
      </p:sp>
      <p:grpSp>
        <p:nvGrpSpPr>
          <p:cNvPr id="1281" name="Group 1280">
            <a:extLst>
              <a:ext uri="{FF2B5EF4-FFF2-40B4-BE49-F238E27FC236}">
                <a16:creationId xmlns:a16="http://schemas.microsoft.com/office/drawing/2014/main" id="{351ABA33-5DC9-44A6-B192-36DEF212F2E2}"/>
              </a:ext>
              <a:ext uri="{C183D7F6-B498-43B3-948B-1728B52AA6E4}">
                <adec:decorative xmlns:adec="http://schemas.microsoft.com/office/drawing/2017/decorative" val="1"/>
              </a:ext>
            </a:extLst>
          </p:cNvPr>
          <p:cNvGrpSpPr/>
          <p:nvPr/>
        </p:nvGrpSpPr>
        <p:grpSpPr>
          <a:xfrm>
            <a:off x="1358018" y="4159250"/>
            <a:ext cx="9986157" cy="2022079"/>
            <a:chOff x="1358018" y="4159250"/>
            <a:chExt cx="9986157" cy="2022079"/>
          </a:xfrm>
        </p:grpSpPr>
        <p:sp>
          <p:nvSpPr>
            <p:cNvPr id="1282" name="Rectangle 73">
              <a:extLst>
                <a:ext uri="{FF2B5EF4-FFF2-40B4-BE49-F238E27FC236}">
                  <a16:creationId xmlns:a16="http://schemas.microsoft.com/office/drawing/2014/main" id="{C46FAC1C-8D15-4587-8AB5-040D2FBE6318}"/>
                </a:ext>
                <a:ext uri="{C183D7F6-B498-43B3-948B-1728B52AA6E4}">
                  <adec:decorative xmlns:adec="http://schemas.microsoft.com/office/drawing/2017/decorative" val="1"/>
                </a:ext>
              </a:extLst>
            </p:cNvPr>
            <p:cNvSpPr>
              <a:spLocks/>
            </p:cNvSpPr>
            <p:nvPr/>
          </p:nvSpPr>
          <p:spPr bwMode="auto">
            <a:xfrm>
              <a:off x="1358018" y="4159250"/>
              <a:ext cx="9986157" cy="2022079"/>
            </a:xfrm>
            <a:custGeom>
              <a:avLst/>
              <a:gdLst>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 name="connsiteX4" fmla="*/ 0 w 16012886"/>
                <a:gd name="connsiteY4" fmla="*/ 0 h 3235326"/>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 name="connsiteX4" fmla="*/ 91440 w 16012886"/>
                <a:gd name="connsiteY4" fmla="*/ 91440 h 3235326"/>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Lst>
              <a:ahLst/>
              <a:cxnLst>
                <a:cxn ang="0">
                  <a:pos x="connsiteX0" y="connsiteY0"/>
                </a:cxn>
                <a:cxn ang="0">
                  <a:pos x="connsiteX1" y="connsiteY1"/>
                </a:cxn>
                <a:cxn ang="0">
                  <a:pos x="connsiteX2" y="connsiteY2"/>
                </a:cxn>
                <a:cxn ang="0">
                  <a:pos x="connsiteX3" y="connsiteY3"/>
                </a:cxn>
              </a:cxnLst>
              <a:rect l="l" t="t" r="r" b="b"/>
              <a:pathLst>
                <a:path w="16012886" h="3235326">
                  <a:moveTo>
                    <a:pt x="0" y="0"/>
                  </a:moveTo>
                  <a:lnTo>
                    <a:pt x="16012886" y="0"/>
                  </a:lnTo>
                  <a:lnTo>
                    <a:pt x="16012886" y="3235326"/>
                  </a:lnTo>
                  <a:lnTo>
                    <a:pt x="0" y="3235326"/>
                  </a:lnTo>
                </a:path>
              </a:pathLst>
            </a:custGeom>
            <a:noFill/>
            <a:ln w="25400" cap="flat" cmpd="sng" algn="ctr">
              <a:solidFill>
                <a:schemeClr val="bg1">
                  <a:alpha val="15000"/>
                </a:schemeClr>
              </a:solidFill>
              <a:prstDash val="solid"/>
              <a:headEnd type="none" w="med" len="med"/>
              <a:tailEnd type="none" w="med" len="med"/>
            </a:ln>
            <a:effectLst/>
          </p:spPr>
          <p:txBody>
            <a:bodyPr rot="0" spcFirstLastPara="0" vertOverflow="overflow" horzOverflow="overflow" vert="horz" wrap="square" lIns="182598" tIns="146078" rIns="182598" bIns="146078" numCol="1" spcCol="0" rtlCol="0" fromWordArt="0" anchor="t" anchorCtr="0" forceAA="0" compatLnSpc="1">
              <a:prstTxWarp prst="textNoShape">
                <a:avLst/>
              </a:prstTxWarp>
              <a:noAutofit/>
            </a:bodyPr>
            <a:lstStyle/>
            <a:p>
              <a:pPr marL="0" marR="0" lvl="0" indent="0" algn="l" defTabSz="931015" rtl="0" eaLnBrk="1" fontAlgn="base" latinLnBrk="0" hangingPunct="1">
                <a:lnSpc>
                  <a:spcPct val="100000"/>
                </a:lnSpc>
                <a:spcBef>
                  <a:spcPct val="0"/>
                </a:spcBef>
                <a:spcAft>
                  <a:spcPct val="0"/>
                </a:spcAft>
                <a:buClr>
                  <a:srgbClr val="000000"/>
                </a:buClr>
                <a:buSzTx/>
                <a:buFontTx/>
                <a:buNone/>
                <a:tabLst/>
                <a:defRPr/>
              </a:pPr>
              <a:endParaRPr kumimoji="0" lang="en-US" sz="1997" b="0" i="0" u="none" strike="noStrike" kern="0" cap="none" spc="0" normalizeH="0" baseline="0" noProof="0" err="1">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sym typeface="Arial"/>
              </a:endParaRPr>
            </a:p>
          </p:txBody>
        </p:sp>
        <p:sp>
          <p:nvSpPr>
            <p:cNvPr id="1283" name="Rounded Rectangle 32">
              <a:extLst>
                <a:ext uri="{FF2B5EF4-FFF2-40B4-BE49-F238E27FC236}">
                  <a16:creationId xmlns:a16="http://schemas.microsoft.com/office/drawing/2014/main" id="{909715D0-5016-4985-8BB2-BCA8784CAC84}"/>
                </a:ext>
                <a:ext uri="{C183D7F6-B498-43B3-948B-1728B52AA6E4}">
                  <adec:decorative xmlns:adec="http://schemas.microsoft.com/office/drawing/2017/decorative" val="1"/>
                </a:ext>
              </a:extLst>
            </p:cNvPr>
            <p:cNvSpPr/>
            <p:nvPr/>
          </p:nvSpPr>
          <p:spPr bwMode="auto">
            <a:xfrm>
              <a:off x="5624197" y="4445811"/>
              <a:ext cx="4079777" cy="1449144"/>
            </a:xfrm>
            <a:prstGeom prst="rect">
              <a:avLst/>
            </a:prstGeom>
            <a:gradFill flip="none" rotWithShape="1">
              <a:gsLst>
                <a:gs pos="0">
                  <a:schemeClr val="accent1">
                    <a:lumMod val="50000"/>
                    <a:alpha val="38000"/>
                  </a:schemeClr>
                </a:gs>
                <a:gs pos="46000">
                  <a:schemeClr val="accent3">
                    <a:alpha val="40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prstClr val="white"/>
                </a:solidFill>
                <a:effectLst/>
                <a:uLnTx/>
                <a:uFillTx/>
                <a:latin typeface="Helvetica"/>
                <a:ea typeface="+mn-ea"/>
                <a:cs typeface="+mn-cs"/>
              </a:endParaRPr>
            </a:p>
          </p:txBody>
        </p:sp>
        <p:sp>
          <p:nvSpPr>
            <p:cNvPr id="1284" name="Rounded Rectangle 32">
              <a:extLst>
                <a:ext uri="{FF2B5EF4-FFF2-40B4-BE49-F238E27FC236}">
                  <a16:creationId xmlns:a16="http://schemas.microsoft.com/office/drawing/2014/main" id="{4B476CDE-A7D1-46B5-8216-62C2E682E6E1}"/>
                </a:ext>
                <a:ext uri="{C183D7F6-B498-43B3-948B-1728B52AA6E4}">
                  <adec:decorative xmlns:adec="http://schemas.microsoft.com/office/drawing/2017/decorative" val="1"/>
                </a:ext>
              </a:extLst>
            </p:cNvPr>
            <p:cNvSpPr/>
            <p:nvPr/>
          </p:nvSpPr>
          <p:spPr bwMode="auto">
            <a:xfrm>
              <a:off x="9749554" y="4445811"/>
              <a:ext cx="1503619" cy="1449144"/>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pic>
          <p:nvPicPr>
            <p:cNvPr id="1285" name="Picture 1284">
              <a:extLst>
                <a:ext uri="{FF2B5EF4-FFF2-40B4-BE49-F238E27FC236}">
                  <a16:creationId xmlns:a16="http://schemas.microsoft.com/office/drawing/2014/main" id="{82A9770C-F539-4DDB-93B0-0BD3D58C5AE3}"/>
                </a:ext>
                <a:ext uri="{C183D7F6-B498-43B3-948B-1728B52AA6E4}">
                  <adec:decorative xmlns:adec="http://schemas.microsoft.com/office/drawing/2017/decorative" val="1"/>
                </a:ext>
              </a:extLst>
            </p:cNvPr>
            <p:cNvPicPr>
              <a:picLocks noChangeAspect="1"/>
            </p:cNvPicPr>
            <p:nvPr/>
          </p:nvPicPr>
          <p:blipFill>
            <a:blip r:embed="rId6">
              <a:clrChange>
                <a:clrFrom>
                  <a:srgbClr val="000000"/>
                </a:clrFrom>
                <a:clrTo>
                  <a:srgbClr val="000000">
                    <a:alpha val="0"/>
                  </a:srgbClr>
                </a:clrTo>
              </a:clrChange>
            </a:blip>
            <a:stretch>
              <a:fillRect/>
            </a:stretch>
          </p:blipFill>
          <p:spPr>
            <a:xfrm>
              <a:off x="10251756" y="4746404"/>
              <a:ext cx="544637" cy="544637"/>
            </a:xfrm>
            <a:prstGeom prst="rect">
              <a:avLst/>
            </a:prstGeom>
          </p:spPr>
        </p:pic>
        <p:sp>
          <p:nvSpPr>
            <p:cNvPr id="1286" name="Rounded Rectangle 32">
              <a:extLst>
                <a:ext uri="{FF2B5EF4-FFF2-40B4-BE49-F238E27FC236}">
                  <a16:creationId xmlns:a16="http://schemas.microsoft.com/office/drawing/2014/main" id="{64FE379A-6E5D-4265-840E-E6A2D89720EF}"/>
                </a:ext>
                <a:ext uri="{C183D7F6-B498-43B3-948B-1728B52AA6E4}">
                  <adec:decorative xmlns:adec="http://schemas.microsoft.com/office/drawing/2017/decorative" val="1"/>
                </a:ext>
              </a:extLst>
            </p:cNvPr>
            <p:cNvSpPr/>
            <p:nvPr/>
          </p:nvSpPr>
          <p:spPr bwMode="auto">
            <a:xfrm>
              <a:off x="1553082" y="4445810"/>
              <a:ext cx="577352"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pic>
          <p:nvPicPr>
            <p:cNvPr id="1287" name="Picture 2">
              <a:extLst>
                <a:ext uri="{FF2B5EF4-FFF2-40B4-BE49-F238E27FC236}">
                  <a16:creationId xmlns:a16="http://schemas.microsoft.com/office/drawing/2014/main" id="{5A6E24B7-7072-4D56-B636-CB3E1841CAA2}"/>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34823" y="4738465"/>
              <a:ext cx="413870" cy="413870"/>
            </a:xfrm>
            <a:prstGeom prst="rect">
              <a:avLst/>
            </a:prstGeom>
            <a:noFill/>
          </p:spPr>
        </p:pic>
        <p:sp>
          <p:nvSpPr>
            <p:cNvPr id="1288" name="Rounded Rectangle 32">
              <a:extLst>
                <a:ext uri="{FF2B5EF4-FFF2-40B4-BE49-F238E27FC236}">
                  <a16:creationId xmlns:a16="http://schemas.microsoft.com/office/drawing/2014/main" id="{983CE082-1843-4629-B7FC-81D0C4672F1A}"/>
                </a:ext>
                <a:ext uri="{C183D7F6-B498-43B3-948B-1728B52AA6E4}">
                  <adec:decorative xmlns:adec="http://schemas.microsoft.com/office/drawing/2017/decorative" val="1"/>
                </a:ext>
              </a:extLst>
            </p:cNvPr>
            <p:cNvSpPr>
              <a:spLocks/>
            </p:cNvSpPr>
            <p:nvPr/>
          </p:nvSpPr>
          <p:spPr bwMode="auto">
            <a:xfrm>
              <a:off x="3537704" y="4445812"/>
              <a:ext cx="2040913" cy="444254"/>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1289" name="Rounded Rectangle 32">
              <a:extLst>
                <a:ext uri="{FF2B5EF4-FFF2-40B4-BE49-F238E27FC236}">
                  <a16:creationId xmlns:a16="http://schemas.microsoft.com/office/drawing/2014/main" id="{4AB5CC5A-1341-484B-861D-6ED227AC633B}"/>
                </a:ext>
                <a:ext uri="{C183D7F6-B498-43B3-948B-1728B52AA6E4}">
                  <adec:decorative xmlns:adec="http://schemas.microsoft.com/office/drawing/2017/decorative" val="1"/>
                </a:ext>
              </a:extLst>
            </p:cNvPr>
            <p:cNvSpPr>
              <a:spLocks/>
            </p:cNvSpPr>
            <p:nvPr/>
          </p:nvSpPr>
          <p:spPr bwMode="auto">
            <a:xfrm>
              <a:off x="3537704" y="4948256"/>
              <a:ext cx="2040913" cy="444254"/>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1290" name="Rounded Rectangle 32">
              <a:extLst>
                <a:ext uri="{FF2B5EF4-FFF2-40B4-BE49-F238E27FC236}">
                  <a16:creationId xmlns:a16="http://schemas.microsoft.com/office/drawing/2014/main" id="{B2CBA562-F4F1-4B45-A45D-BF7099F8A947}"/>
                </a:ext>
                <a:ext uri="{C183D7F6-B498-43B3-948B-1728B52AA6E4}">
                  <adec:decorative xmlns:adec="http://schemas.microsoft.com/office/drawing/2017/decorative" val="1"/>
                </a:ext>
              </a:extLst>
            </p:cNvPr>
            <p:cNvSpPr/>
            <p:nvPr/>
          </p:nvSpPr>
          <p:spPr bwMode="auto">
            <a:xfrm>
              <a:off x="3537704" y="5450701"/>
              <a:ext cx="2040913" cy="444254"/>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1291" name="Rounded Rectangle 32">
              <a:extLst>
                <a:ext uri="{FF2B5EF4-FFF2-40B4-BE49-F238E27FC236}">
                  <a16:creationId xmlns:a16="http://schemas.microsoft.com/office/drawing/2014/main" id="{791FAFBC-28F1-4A86-B74A-59D087FFBDF8}"/>
                </a:ext>
                <a:ext uri="{C183D7F6-B498-43B3-948B-1728B52AA6E4}">
                  <adec:decorative xmlns:adec="http://schemas.microsoft.com/office/drawing/2017/decorative" val="1"/>
                </a:ext>
              </a:extLst>
            </p:cNvPr>
            <p:cNvSpPr/>
            <p:nvPr/>
          </p:nvSpPr>
          <p:spPr bwMode="auto">
            <a:xfrm>
              <a:off x="2821489" y="4445810"/>
              <a:ext cx="637434"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grpSp>
          <p:nvGrpSpPr>
            <p:cNvPr id="1292" name="Group 1291">
              <a:extLst>
                <a:ext uri="{FF2B5EF4-FFF2-40B4-BE49-F238E27FC236}">
                  <a16:creationId xmlns:a16="http://schemas.microsoft.com/office/drawing/2014/main" id="{9345C355-0051-4541-8666-378540BB0CA5}"/>
                </a:ext>
                <a:ext uri="{C183D7F6-B498-43B3-948B-1728B52AA6E4}">
                  <adec:decorative xmlns:adec="http://schemas.microsoft.com/office/drawing/2017/decorative" val="1"/>
                </a:ext>
              </a:extLst>
            </p:cNvPr>
            <p:cNvGrpSpPr/>
            <p:nvPr/>
          </p:nvGrpSpPr>
          <p:grpSpPr>
            <a:xfrm>
              <a:off x="2950500" y="4790876"/>
              <a:ext cx="379413" cy="379413"/>
              <a:chOff x="2950500" y="4790876"/>
              <a:chExt cx="379413" cy="379413"/>
            </a:xfrm>
          </p:grpSpPr>
          <p:sp>
            <p:nvSpPr>
              <p:cNvPr id="1306" name="AutoShape 78">
                <a:extLst>
                  <a:ext uri="{FF2B5EF4-FFF2-40B4-BE49-F238E27FC236}">
                    <a16:creationId xmlns:a16="http://schemas.microsoft.com/office/drawing/2014/main" id="{79CB5FC9-B728-4CF8-8DE3-8ED899B2A444}"/>
                  </a:ext>
                  <a:ext uri="{C183D7F6-B498-43B3-948B-1728B52AA6E4}">
                    <adec:decorative xmlns:adec="http://schemas.microsoft.com/office/drawing/2017/decorative" val="1"/>
                  </a:ext>
                </a:extLst>
              </p:cNvPr>
              <p:cNvSpPr>
                <a:spLocks noChangeAspect="1" noChangeArrowheads="1" noTextEdit="1"/>
              </p:cNvSpPr>
              <p:nvPr/>
            </p:nvSpPr>
            <p:spPr bwMode="auto">
              <a:xfrm>
                <a:off x="2950500" y="4790876"/>
                <a:ext cx="37941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07" name="Oval 80">
                <a:extLst>
                  <a:ext uri="{FF2B5EF4-FFF2-40B4-BE49-F238E27FC236}">
                    <a16:creationId xmlns:a16="http://schemas.microsoft.com/office/drawing/2014/main" id="{F48830A7-64DA-4367-8E47-7181E7454059}"/>
                  </a:ext>
                  <a:ext uri="{C183D7F6-B498-43B3-948B-1728B52AA6E4}">
                    <adec:decorative xmlns:adec="http://schemas.microsoft.com/office/drawing/2017/decorative" val="1"/>
                  </a:ext>
                </a:extLst>
              </p:cNvPr>
              <p:cNvSpPr>
                <a:spLocks noChangeArrowheads="1"/>
              </p:cNvSpPr>
              <p:nvPr/>
            </p:nvSpPr>
            <p:spPr bwMode="auto">
              <a:xfrm>
                <a:off x="2950500" y="4790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08" name="Oval 81">
                <a:extLst>
                  <a:ext uri="{FF2B5EF4-FFF2-40B4-BE49-F238E27FC236}">
                    <a16:creationId xmlns:a16="http://schemas.microsoft.com/office/drawing/2014/main" id="{C3F4D5D0-289F-4294-814E-3C4F28512CF2}"/>
                  </a:ext>
                  <a:ext uri="{C183D7F6-B498-43B3-948B-1728B52AA6E4}">
                    <adec:decorative xmlns:adec="http://schemas.microsoft.com/office/drawing/2017/decorative" val="1"/>
                  </a:ext>
                </a:extLst>
              </p:cNvPr>
              <p:cNvSpPr>
                <a:spLocks noChangeArrowheads="1"/>
              </p:cNvSpPr>
              <p:nvPr/>
            </p:nvSpPr>
            <p:spPr bwMode="auto">
              <a:xfrm>
                <a:off x="3012413" y="4790876"/>
                <a:ext cx="44450"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09" name="Oval 82">
                <a:extLst>
                  <a:ext uri="{FF2B5EF4-FFF2-40B4-BE49-F238E27FC236}">
                    <a16:creationId xmlns:a16="http://schemas.microsoft.com/office/drawing/2014/main" id="{C31B4DD7-A4F7-4001-B1AD-E4914830C660}"/>
                  </a:ext>
                  <a:ext uri="{C183D7F6-B498-43B3-948B-1728B52AA6E4}">
                    <adec:decorative xmlns:adec="http://schemas.microsoft.com/office/drawing/2017/decorative" val="1"/>
                  </a:ext>
                </a:extLst>
              </p:cNvPr>
              <p:cNvSpPr>
                <a:spLocks noChangeArrowheads="1"/>
              </p:cNvSpPr>
              <p:nvPr/>
            </p:nvSpPr>
            <p:spPr bwMode="auto">
              <a:xfrm>
                <a:off x="3077500" y="4790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0" name="Oval 83">
                <a:extLst>
                  <a:ext uri="{FF2B5EF4-FFF2-40B4-BE49-F238E27FC236}">
                    <a16:creationId xmlns:a16="http://schemas.microsoft.com/office/drawing/2014/main" id="{96C3D6D9-AA6D-4B8E-BDB8-BBCC270C701D}"/>
                  </a:ext>
                  <a:ext uri="{C183D7F6-B498-43B3-948B-1728B52AA6E4}">
                    <adec:decorative xmlns:adec="http://schemas.microsoft.com/office/drawing/2017/decorative" val="1"/>
                  </a:ext>
                </a:extLst>
              </p:cNvPr>
              <p:cNvSpPr>
                <a:spLocks noChangeArrowheads="1"/>
              </p:cNvSpPr>
              <p:nvPr/>
            </p:nvSpPr>
            <p:spPr bwMode="auto">
              <a:xfrm>
                <a:off x="3139413" y="4790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1" name="Oval 84">
                <a:extLst>
                  <a:ext uri="{FF2B5EF4-FFF2-40B4-BE49-F238E27FC236}">
                    <a16:creationId xmlns:a16="http://schemas.microsoft.com/office/drawing/2014/main" id="{D4E328EB-2C47-4BA7-A257-E489217ED07E}"/>
                  </a:ext>
                  <a:ext uri="{C183D7F6-B498-43B3-948B-1728B52AA6E4}">
                    <adec:decorative xmlns:adec="http://schemas.microsoft.com/office/drawing/2017/decorative" val="1"/>
                  </a:ext>
                </a:extLst>
              </p:cNvPr>
              <p:cNvSpPr>
                <a:spLocks noChangeArrowheads="1"/>
              </p:cNvSpPr>
              <p:nvPr/>
            </p:nvSpPr>
            <p:spPr bwMode="auto">
              <a:xfrm>
                <a:off x="3201325" y="4790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2" name="Oval 85">
                <a:extLst>
                  <a:ext uri="{FF2B5EF4-FFF2-40B4-BE49-F238E27FC236}">
                    <a16:creationId xmlns:a16="http://schemas.microsoft.com/office/drawing/2014/main" id="{1AD3728C-6487-4273-A43E-9A237B08B104}"/>
                  </a:ext>
                  <a:ext uri="{C183D7F6-B498-43B3-948B-1728B52AA6E4}">
                    <adec:decorative xmlns:adec="http://schemas.microsoft.com/office/drawing/2017/decorative" val="1"/>
                  </a:ext>
                </a:extLst>
              </p:cNvPr>
              <p:cNvSpPr>
                <a:spLocks noChangeArrowheads="1"/>
              </p:cNvSpPr>
              <p:nvPr/>
            </p:nvSpPr>
            <p:spPr bwMode="auto">
              <a:xfrm>
                <a:off x="3266413" y="4790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3" name="Oval 86">
                <a:extLst>
                  <a:ext uri="{FF2B5EF4-FFF2-40B4-BE49-F238E27FC236}">
                    <a16:creationId xmlns:a16="http://schemas.microsoft.com/office/drawing/2014/main" id="{2A2AA33F-A9B2-4298-A260-121666C189AF}"/>
                  </a:ext>
                  <a:ext uri="{C183D7F6-B498-43B3-948B-1728B52AA6E4}">
                    <adec:decorative xmlns:adec="http://schemas.microsoft.com/office/drawing/2017/decorative" val="1"/>
                  </a:ext>
                </a:extLst>
              </p:cNvPr>
              <p:cNvSpPr>
                <a:spLocks noChangeArrowheads="1"/>
              </p:cNvSpPr>
              <p:nvPr/>
            </p:nvSpPr>
            <p:spPr bwMode="auto">
              <a:xfrm>
                <a:off x="2950500" y="4852789"/>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4" name="Oval 87">
                <a:extLst>
                  <a:ext uri="{FF2B5EF4-FFF2-40B4-BE49-F238E27FC236}">
                    <a16:creationId xmlns:a16="http://schemas.microsoft.com/office/drawing/2014/main" id="{82C58871-084D-4C42-B854-563A140EBDF4}"/>
                  </a:ext>
                  <a:ext uri="{C183D7F6-B498-43B3-948B-1728B52AA6E4}">
                    <adec:decorative xmlns:adec="http://schemas.microsoft.com/office/drawing/2017/decorative" val="1"/>
                  </a:ext>
                </a:extLst>
              </p:cNvPr>
              <p:cNvSpPr>
                <a:spLocks noChangeArrowheads="1"/>
              </p:cNvSpPr>
              <p:nvPr/>
            </p:nvSpPr>
            <p:spPr bwMode="auto">
              <a:xfrm>
                <a:off x="3266413" y="4852789"/>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5" name="Oval 88">
                <a:extLst>
                  <a:ext uri="{FF2B5EF4-FFF2-40B4-BE49-F238E27FC236}">
                    <a16:creationId xmlns:a16="http://schemas.microsoft.com/office/drawing/2014/main" id="{0B203E86-D230-46D8-A241-344F9B835AD6}"/>
                  </a:ext>
                  <a:ext uri="{C183D7F6-B498-43B3-948B-1728B52AA6E4}">
                    <adec:decorative xmlns:adec="http://schemas.microsoft.com/office/drawing/2017/decorative" val="1"/>
                  </a:ext>
                </a:extLst>
              </p:cNvPr>
              <p:cNvSpPr>
                <a:spLocks noChangeArrowheads="1"/>
              </p:cNvSpPr>
              <p:nvPr/>
            </p:nvSpPr>
            <p:spPr bwMode="auto">
              <a:xfrm>
                <a:off x="2950500" y="4917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6" name="Oval 89">
                <a:extLst>
                  <a:ext uri="{FF2B5EF4-FFF2-40B4-BE49-F238E27FC236}">
                    <a16:creationId xmlns:a16="http://schemas.microsoft.com/office/drawing/2014/main" id="{7B0F6258-4B9A-461B-A007-0240BD914CE8}"/>
                  </a:ext>
                  <a:ext uri="{C183D7F6-B498-43B3-948B-1728B52AA6E4}">
                    <adec:decorative xmlns:adec="http://schemas.microsoft.com/office/drawing/2017/decorative" val="1"/>
                  </a:ext>
                </a:extLst>
              </p:cNvPr>
              <p:cNvSpPr>
                <a:spLocks noChangeArrowheads="1"/>
              </p:cNvSpPr>
              <p:nvPr/>
            </p:nvSpPr>
            <p:spPr bwMode="auto">
              <a:xfrm>
                <a:off x="3077500" y="4917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7" name="Oval 90">
                <a:extLst>
                  <a:ext uri="{FF2B5EF4-FFF2-40B4-BE49-F238E27FC236}">
                    <a16:creationId xmlns:a16="http://schemas.microsoft.com/office/drawing/2014/main" id="{26EC46CD-D64D-41F9-B1F9-CA1C321896BB}"/>
                  </a:ext>
                  <a:ext uri="{C183D7F6-B498-43B3-948B-1728B52AA6E4}">
                    <adec:decorative xmlns:adec="http://schemas.microsoft.com/office/drawing/2017/decorative" val="1"/>
                  </a:ext>
                </a:extLst>
              </p:cNvPr>
              <p:cNvSpPr>
                <a:spLocks noChangeArrowheads="1"/>
              </p:cNvSpPr>
              <p:nvPr/>
            </p:nvSpPr>
            <p:spPr bwMode="auto">
              <a:xfrm>
                <a:off x="3139413" y="4917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8" name="Oval 1317">
                <a:extLst>
                  <a:ext uri="{FF2B5EF4-FFF2-40B4-BE49-F238E27FC236}">
                    <a16:creationId xmlns:a16="http://schemas.microsoft.com/office/drawing/2014/main" id="{ECE62131-9896-4E28-AA08-2E326E65B902}"/>
                  </a:ext>
                  <a:ext uri="{C183D7F6-B498-43B3-948B-1728B52AA6E4}">
                    <adec:decorative xmlns:adec="http://schemas.microsoft.com/office/drawing/2017/decorative" val="1"/>
                  </a:ext>
                </a:extLst>
              </p:cNvPr>
              <p:cNvSpPr>
                <a:spLocks noChangeArrowheads="1"/>
              </p:cNvSpPr>
              <p:nvPr/>
            </p:nvSpPr>
            <p:spPr bwMode="auto">
              <a:xfrm>
                <a:off x="3266413" y="4917876"/>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19" name="Oval 1318">
                <a:extLst>
                  <a:ext uri="{FF2B5EF4-FFF2-40B4-BE49-F238E27FC236}">
                    <a16:creationId xmlns:a16="http://schemas.microsoft.com/office/drawing/2014/main" id="{ECDEC746-13BB-4D9B-8126-3A9F47BF7473}"/>
                  </a:ext>
                  <a:ext uri="{C183D7F6-B498-43B3-948B-1728B52AA6E4}">
                    <adec:decorative xmlns:adec="http://schemas.microsoft.com/office/drawing/2017/decorative" val="1"/>
                  </a:ext>
                </a:extLst>
              </p:cNvPr>
              <p:cNvSpPr>
                <a:spLocks noChangeArrowheads="1"/>
              </p:cNvSpPr>
              <p:nvPr/>
            </p:nvSpPr>
            <p:spPr bwMode="auto">
              <a:xfrm>
                <a:off x="2950500" y="4979789"/>
                <a:ext cx="42863"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0" name="Oval 93">
                <a:extLst>
                  <a:ext uri="{FF2B5EF4-FFF2-40B4-BE49-F238E27FC236}">
                    <a16:creationId xmlns:a16="http://schemas.microsoft.com/office/drawing/2014/main" id="{E62FE5F8-8E73-4FC1-A4DE-D26DD9362CD6}"/>
                  </a:ext>
                  <a:ext uri="{C183D7F6-B498-43B3-948B-1728B52AA6E4}">
                    <adec:decorative xmlns:adec="http://schemas.microsoft.com/office/drawing/2017/decorative" val="1"/>
                  </a:ext>
                </a:extLst>
              </p:cNvPr>
              <p:cNvSpPr>
                <a:spLocks noChangeArrowheads="1"/>
              </p:cNvSpPr>
              <p:nvPr/>
            </p:nvSpPr>
            <p:spPr bwMode="auto">
              <a:xfrm>
                <a:off x="3077500" y="4979789"/>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1" name="Oval 94">
                <a:extLst>
                  <a:ext uri="{FF2B5EF4-FFF2-40B4-BE49-F238E27FC236}">
                    <a16:creationId xmlns:a16="http://schemas.microsoft.com/office/drawing/2014/main" id="{641ED871-9FF7-41CC-AB09-203902C2478E}"/>
                  </a:ext>
                  <a:ext uri="{C183D7F6-B498-43B3-948B-1728B52AA6E4}">
                    <adec:decorative xmlns:adec="http://schemas.microsoft.com/office/drawing/2017/decorative" val="1"/>
                  </a:ext>
                </a:extLst>
              </p:cNvPr>
              <p:cNvSpPr>
                <a:spLocks noChangeArrowheads="1"/>
              </p:cNvSpPr>
              <p:nvPr/>
            </p:nvSpPr>
            <p:spPr bwMode="auto">
              <a:xfrm>
                <a:off x="2950500" y="5041701"/>
                <a:ext cx="42863" cy="4445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2" name="Oval 95">
                <a:extLst>
                  <a:ext uri="{FF2B5EF4-FFF2-40B4-BE49-F238E27FC236}">
                    <a16:creationId xmlns:a16="http://schemas.microsoft.com/office/drawing/2014/main" id="{4A315AD4-0BB0-4D07-8B2E-A6834D44F61A}"/>
                  </a:ext>
                  <a:ext uri="{C183D7F6-B498-43B3-948B-1728B52AA6E4}">
                    <adec:decorative xmlns:adec="http://schemas.microsoft.com/office/drawing/2017/decorative" val="1"/>
                  </a:ext>
                </a:extLst>
              </p:cNvPr>
              <p:cNvSpPr>
                <a:spLocks noChangeArrowheads="1"/>
              </p:cNvSpPr>
              <p:nvPr/>
            </p:nvSpPr>
            <p:spPr bwMode="auto">
              <a:xfrm>
                <a:off x="2950500" y="5106789"/>
                <a:ext cx="42863"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3" name="Oval 96">
                <a:extLst>
                  <a:ext uri="{FF2B5EF4-FFF2-40B4-BE49-F238E27FC236}">
                    <a16:creationId xmlns:a16="http://schemas.microsoft.com/office/drawing/2014/main" id="{49B16DBE-15A1-4DCD-AF39-005FFBBA2E27}"/>
                  </a:ext>
                  <a:ext uri="{C183D7F6-B498-43B3-948B-1728B52AA6E4}">
                    <adec:decorative xmlns:adec="http://schemas.microsoft.com/office/drawing/2017/decorative" val="1"/>
                  </a:ext>
                </a:extLst>
              </p:cNvPr>
              <p:cNvSpPr>
                <a:spLocks noChangeArrowheads="1"/>
              </p:cNvSpPr>
              <p:nvPr/>
            </p:nvSpPr>
            <p:spPr bwMode="auto">
              <a:xfrm>
                <a:off x="3015588" y="5106789"/>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4" name="Oval 97">
                <a:extLst>
                  <a:ext uri="{FF2B5EF4-FFF2-40B4-BE49-F238E27FC236}">
                    <a16:creationId xmlns:a16="http://schemas.microsoft.com/office/drawing/2014/main" id="{E923862A-BA87-433E-90CE-32BF7DCBB845}"/>
                  </a:ext>
                  <a:ext uri="{C183D7F6-B498-43B3-948B-1728B52AA6E4}">
                    <adec:decorative xmlns:adec="http://schemas.microsoft.com/office/drawing/2017/decorative" val="1"/>
                  </a:ext>
                </a:extLst>
              </p:cNvPr>
              <p:cNvSpPr>
                <a:spLocks noChangeArrowheads="1"/>
              </p:cNvSpPr>
              <p:nvPr/>
            </p:nvSpPr>
            <p:spPr bwMode="auto">
              <a:xfrm>
                <a:off x="3077500" y="5106789"/>
                <a:ext cx="41275" cy="412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5" name="Freeform 98">
                <a:extLst>
                  <a:ext uri="{FF2B5EF4-FFF2-40B4-BE49-F238E27FC236}">
                    <a16:creationId xmlns:a16="http://schemas.microsoft.com/office/drawing/2014/main" id="{80F54E4A-4980-4AB5-A085-96D8D1FF51F4}"/>
                  </a:ext>
                  <a:ext uri="{C183D7F6-B498-43B3-948B-1728B52AA6E4}">
                    <adec:decorative xmlns:adec="http://schemas.microsoft.com/office/drawing/2017/decorative" val="1"/>
                  </a:ext>
                </a:extLst>
              </p:cNvPr>
              <p:cNvSpPr>
                <a:spLocks noEditPoints="1"/>
              </p:cNvSpPr>
              <p:nvPr/>
            </p:nvSpPr>
            <p:spPr bwMode="auto">
              <a:xfrm>
                <a:off x="3139413" y="4979789"/>
                <a:ext cx="188913" cy="188913"/>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6" name="Freeform 99">
                <a:extLst>
                  <a:ext uri="{FF2B5EF4-FFF2-40B4-BE49-F238E27FC236}">
                    <a16:creationId xmlns:a16="http://schemas.microsoft.com/office/drawing/2014/main" id="{A7C75CA2-EC06-4EAA-BB2D-8DB416E017D3}"/>
                  </a:ext>
                  <a:ext uri="{C183D7F6-B498-43B3-948B-1728B52AA6E4}">
                    <adec:decorative xmlns:adec="http://schemas.microsoft.com/office/drawing/2017/decorative" val="1"/>
                  </a:ext>
                </a:extLst>
              </p:cNvPr>
              <p:cNvSpPr>
                <a:spLocks/>
              </p:cNvSpPr>
              <p:nvPr/>
            </p:nvSpPr>
            <p:spPr bwMode="auto">
              <a:xfrm>
                <a:off x="3015588" y="4852789"/>
                <a:ext cx="82550" cy="85725"/>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7" name="Freeform 100">
                <a:extLst>
                  <a:ext uri="{FF2B5EF4-FFF2-40B4-BE49-F238E27FC236}">
                    <a16:creationId xmlns:a16="http://schemas.microsoft.com/office/drawing/2014/main" id="{06B1C09A-C2A6-483D-B971-85D70D95A9CB}"/>
                  </a:ext>
                  <a:ext uri="{C183D7F6-B498-43B3-948B-1728B52AA6E4}">
                    <adec:decorative xmlns:adec="http://schemas.microsoft.com/office/drawing/2017/decorative" val="1"/>
                  </a:ext>
                </a:extLst>
              </p:cNvPr>
              <p:cNvSpPr>
                <a:spLocks/>
              </p:cNvSpPr>
              <p:nvPr/>
            </p:nvSpPr>
            <p:spPr bwMode="auto">
              <a:xfrm>
                <a:off x="3012413" y="5000426"/>
                <a:ext cx="85725" cy="85725"/>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328" name="Freeform 101">
                <a:extLst>
                  <a:ext uri="{FF2B5EF4-FFF2-40B4-BE49-F238E27FC236}">
                    <a16:creationId xmlns:a16="http://schemas.microsoft.com/office/drawing/2014/main" id="{EE7D0EC7-13AC-482B-B67E-0A67728CF6F5}"/>
                  </a:ext>
                  <a:ext uri="{C183D7F6-B498-43B3-948B-1728B52AA6E4}">
                    <adec:decorative xmlns:adec="http://schemas.microsoft.com/office/drawing/2017/decorative" val="1"/>
                  </a:ext>
                </a:extLst>
              </p:cNvPr>
              <p:cNvSpPr>
                <a:spLocks/>
              </p:cNvSpPr>
              <p:nvPr/>
            </p:nvSpPr>
            <p:spPr bwMode="auto">
              <a:xfrm>
                <a:off x="3160050" y="4852789"/>
                <a:ext cx="82550" cy="85725"/>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grpSp>
        <p:sp>
          <p:nvSpPr>
            <p:cNvPr id="1293" name="Rounded Rectangle 32">
              <a:extLst>
                <a:ext uri="{FF2B5EF4-FFF2-40B4-BE49-F238E27FC236}">
                  <a16:creationId xmlns:a16="http://schemas.microsoft.com/office/drawing/2014/main" id="{373D9D35-9F99-44DD-91C4-324AD42B8F8A}"/>
                </a:ext>
                <a:ext uri="{C183D7F6-B498-43B3-948B-1728B52AA6E4}">
                  <adec:decorative xmlns:adec="http://schemas.microsoft.com/office/drawing/2017/decorative" val="1"/>
                </a:ext>
              </a:extLst>
            </p:cNvPr>
            <p:cNvSpPr/>
            <p:nvPr/>
          </p:nvSpPr>
          <p:spPr bwMode="auto">
            <a:xfrm>
              <a:off x="2182393" y="4445810"/>
              <a:ext cx="577352" cy="1449145"/>
            </a:xfrm>
            <a:prstGeom prst="rect">
              <a:avLst/>
            </a:prstGeom>
            <a:solidFill>
              <a:schemeClr val="bg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b"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grpSp>
          <p:nvGrpSpPr>
            <p:cNvPr id="1294" name="Group 1293">
              <a:extLst>
                <a:ext uri="{FF2B5EF4-FFF2-40B4-BE49-F238E27FC236}">
                  <a16:creationId xmlns:a16="http://schemas.microsoft.com/office/drawing/2014/main" id="{1D21EADF-BB6D-4418-9FF3-D0D0B1F33062}"/>
                </a:ext>
                <a:ext uri="{C183D7F6-B498-43B3-948B-1728B52AA6E4}">
                  <adec:decorative xmlns:adec="http://schemas.microsoft.com/office/drawing/2017/decorative" val="1"/>
                </a:ext>
              </a:extLst>
            </p:cNvPr>
            <p:cNvGrpSpPr/>
            <p:nvPr/>
          </p:nvGrpSpPr>
          <p:grpSpPr>
            <a:xfrm>
              <a:off x="2282971" y="4790876"/>
              <a:ext cx="376196" cy="376194"/>
              <a:chOff x="2282971" y="4790876"/>
              <a:chExt cx="376196" cy="376194"/>
            </a:xfrm>
          </p:grpSpPr>
          <p:sp>
            <p:nvSpPr>
              <p:cNvPr id="1298" name="Rectangle 458">
                <a:extLst>
                  <a:ext uri="{FF2B5EF4-FFF2-40B4-BE49-F238E27FC236}">
                    <a16:creationId xmlns:a16="http://schemas.microsoft.com/office/drawing/2014/main" id="{A1FACABE-731B-4AFE-94BA-A6194F3223DF}"/>
                  </a:ext>
                  <a:ext uri="{C183D7F6-B498-43B3-948B-1728B52AA6E4}">
                    <adec:decorative xmlns:adec="http://schemas.microsoft.com/office/drawing/2017/decorative" val="1"/>
                  </a:ext>
                </a:extLst>
              </p:cNvPr>
              <p:cNvSpPr>
                <a:spLocks noChangeArrowheads="1"/>
              </p:cNvSpPr>
              <p:nvPr/>
            </p:nvSpPr>
            <p:spPr bwMode="auto">
              <a:xfrm>
                <a:off x="2282971" y="4790876"/>
                <a:ext cx="376196" cy="3891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9" name="Rectangle 459">
                <a:extLst>
                  <a:ext uri="{FF2B5EF4-FFF2-40B4-BE49-F238E27FC236}">
                    <a16:creationId xmlns:a16="http://schemas.microsoft.com/office/drawing/2014/main" id="{8362CBA1-B43A-48FE-A99B-E67F8324FD1A}"/>
                  </a:ext>
                  <a:ext uri="{C183D7F6-B498-43B3-948B-1728B52AA6E4}">
                    <adec:decorative xmlns:adec="http://schemas.microsoft.com/office/drawing/2017/decorative" val="1"/>
                  </a:ext>
                </a:extLst>
              </p:cNvPr>
              <p:cNvSpPr>
                <a:spLocks noChangeArrowheads="1"/>
              </p:cNvSpPr>
              <p:nvPr/>
            </p:nvSpPr>
            <p:spPr bwMode="auto">
              <a:xfrm>
                <a:off x="2282971" y="4829793"/>
                <a:ext cx="376196" cy="1383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0" name="Rectangle 460">
                <a:extLst>
                  <a:ext uri="{FF2B5EF4-FFF2-40B4-BE49-F238E27FC236}">
                    <a16:creationId xmlns:a16="http://schemas.microsoft.com/office/drawing/2014/main" id="{2FC1DC79-4954-446E-BA96-1D792D2663E7}"/>
                  </a:ext>
                  <a:ext uri="{C183D7F6-B498-43B3-948B-1728B52AA6E4}">
                    <adec:decorative xmlns:adec="http://schemas.microsoft.com/office/drawing/2017/decorative" val="1"/>
                  </a:ext>
                </a:extLst>
              </p:cNvPr>
              <p:cNvSpPr>
                <a:spLocks noChangeArrowheads="1"/>
              </p:cNvSpPr>
              <p:nvPr/>
            </p:nvSpPr>
            <p:spPr bwMode="auto">
              <a:xfrm>
                <a:off x="2282971" y="4988342"/>
                <a:ext cx="79276" cy="7927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1" name="Rectangle 461">
                <a:extLst>
                  <a:ext uri="{FF2B5EF4-FFF2-40B4-BE49-F238E27FC236}">
                    <a16:creationId xmlns:a16="http://schemas.microsoft.com/office/drawing/2014/main" id="{FA71A2E7-5B96-493F-97FE-85B08E3E84EE}"/>
                  </a:ext>
                  <a:ext uri="{C183D7F6-B498-43B3-948B-1728B52AA6E4}">
                    <adec:decorative xmlns:adec="http://schemas.microsoft.com/office/drawing/2017/decorative" val="1"/>
                  </a:ext>
                </a:extLst>
              </p:cNvPr>
              <p:cNvSpPr>
                <a:spLocks noChangeArrowheads="1"/>
              </p:cNvSpPr>
              <p:nvPr/>
            </p:nvSpPr>
            <p:spPr bwMode="auto">
              <a:xfrm>
                <a:off x="2382425" y="4988342"/>
                <a:ext cx="77834" cy="7927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2" name="Rectangle 462">
                <a:extLst>
                  <a:ext uri="{FF2B5EF4-FFF2-40B4-BE49-F238E27FC236}">
                    <a16:creationId xmlns:a16="http://schemas.microsoft.com/office/drawing/2014/main" id="{7257C972-3D01-447C-BA7B-BE88159EEE96}"/>
                  </a:ext>
                  <a:ext uri="{C183D7F6-B498-43B3-948B-1728B52AA6E4}">
                    <adec:decorative xmlns:adec="http://schemas.microsoft.com/office/drawing/2017/decorative" val="1"/>
                  </a:ext>
                </a:extLst>
              </p:cNvPr>
              <p:cNvSpPr>
                <a:spLocks noChangeArrowheads="1"/>
              </p:cNvSpPr>
              <p:nvPr/>
            </p:nvSpPr>
            <p:spPr bwMode="auto">
              <a:xfrm>
                <a:off x="2480437" y="4988342"/>
                <a:ext cx="79276" cy="7927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3" name="Rectangle 463">
                <a:extLst>
                  <a:ext uri="{FF2B5EF4-FFF2-40B4-BE49-F238E27FC236}">
                    <a16:creationId xmlns:a16="http://schemas.microsoft.com/office/drawing/2014/main" id="{A8D335EF-F9B0-4986-B44D-47EF10A89D11}"/>
                  </a:ext>
                  <a:ext uri="{C183D7F6-B498-43B3-948B-1728B52AA6E4}">
                    <adec:decorative xmlns:adec="http://schemas.microsoft.com/office/drawing/2017/decorative" val="1"/>
                  </a:ext>
                </a:extLst>
              </p:cNvPr>
              <p:cNvSpPr>
                <a:spLocks noChangeArrowheads="1"/>
              </p:cNvSpPr>
              <p:nvPr/>
            </p:nvSpPr>
            <p:spPr bwMode="auto">
              <a:xfrm>
                <a:off x="2579891" y="4988342"/>
                <a:ext cx="79276" cy="7927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4" name="Rectangle 464">
                <a:extLst>
                  <a:ext uri="{FF2B5EF4-FFF2-40B4-BE49-F238E27FC236}">
                    <a16:creationId xmlns:a16="http://schemas.microsoft.com/office/drawing/2014/main" id="{341BB0BB-4FF3-414D-880E-6A72CC8338AC}"/>
                  </a:ext>
                  <a:ext uri="{C183D7F6-B498-43B3-948B-1728B52AA6E4}">
                    <adec:decorative xmlns:adec="http://schemas.microsoft.com/office/drawing/2017/decorative" val="1"/>
                  </a:ext>
                </a:extLst>
              </p:cNvPr>
              <p:cNvSpPr>
                <a:spLocks noChangeArrowheads="1"/>
              </p:cNvSpPr>
              <p:nvPr/>
            </p:nvSpPr>
            <p:spPr bwMode="auto">
              <a:xfrm>
                <a:off x="2282971" y="5087795"/>
                <a:ext cx="177288" cy="7927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5" name="Rectangle 465">
                <a:extLst>
                  <a:ext uri="{FF2B5EF4-FFF2-40B4-BE49-F238E27FC236}">
                    <a16:creationId xmlns:a16="http://schemas.microsoft.com/office/drawing/2014/main" id="{B4E4D996-428A-43AB-ABD3-7F134F27E75F}"/>
                  </a:ext>
                  <a:ext uri="{C183D7F6-B498-43B3-948B-1728B52AA6E4}">
                    <adec:decorative xmlns:adec="http://schemas.microsoft.com/office/drawing/2017/decorative" val="1"/>
                  </a:ext>
                </a:extLst>
              </p:cNvPr>
              <p:cNvSpPr>
                <a:spLocks noChangeArrowheads="1"/>
              </p:cNvSpPr>
              <p:nvPr/>
            </p:nvSpPr>
            <p:spPr bwMode="auto">
              <a:xfrm>
                <a:off x="2480437" y="5087795"/>
                <a:ext cx="178729" cy="7927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295" name="Picture 2">
              <a:extLst>
                <a:ext uri="{FF2B5EF4-FFF2-40B4-BE49-F238E27FC236}">
                  <a16:creationId xmlns:a16="http://schemas.microsoft.com/office/drawing/2014/main" id="{647B6C84-72E3-4021-961B-9F1DBA8A8E56}"/>
                </a:ext>
                <a:ext uri="{C183D7F6-B498-43B3-948B-1728B52AA6E4}">
                  <adec:decorative xmlns:adec="http://schemas.microsoft.com/office/drawing/2017/decorative" val="1"/>
                </a:ext>
              </a:extLst>
            </p:cNvPr>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629673" y="4532377"/>
              <a:ext cx="271123" cy="271123"/>
            </a:xfrm>
            <a:prstGeom prst="rect">
              <a:avLst/>
            </a:prstGeom>
            <a:noFill/>
          </p:spPr>
        </p:pic>
        <p:pic>
          <p:nvPicPr>
            <p:cNvPr id="1296" name="Picture 2">
              <a:extLst>
                <a:ext uri="{FF2B5EF4-FFF2-40B4-BE49-F238E27FC236}">
                  <a16:creationId xmlns:a16="http://schemas.microsoft.com/office/drawing/2014/main" id="{0A5330B6-FE3E-47BF-B6B6-D37A70B29AFC}"/>
                </a:ext>
                <a:ext uri="{C183D7F6-B498-43B3-948B-1728B52AA6E4}">
                  <adec:decorative xmlns:adec="http://schemas.microsoft.com/office/drawing/2017/decorative" val="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208" r="18856" b="-8199"/>
            <a:stretch/>
          </p:blipFill>
          <p:spPr bwMode="auto">
            <a:xfrm>
              <a:off x="3599907" y="5042869"/>
              <a:ext cx="330655" cy="293773"/>
            </a:xfrm>
            <a:prstGeom prst="rect">
              <a:avLst/>
            </a:prstGeom>
            <a:noFill/>
          </p:spPr>
        </p:pic>
        <p:pic>
          <p:nvPicPr>
            <p:cNvPr id="1297" name="Picture 2">
              <a:extLst>
                <a:ext uri="{FF2B5EF4-FFF2-40B4-BE49-F238E27FC236}">
                  <a16:creationId xmlns:a16="http://schemas.microsoft.com/office/drawing/2014/main" id="{88177F84-BCA0-4D1D-91FB-669375229524}"/>
                </a:ext>
                <a:ext uri="{C183D7F6-B498-43B3-948B-1728B52AA6E4}">
                  <adec:decorative xmlns:adec="http://schemas.microsoft.com/office/drawing/2017/decorative" val="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208" r="18856" b="-8199"/>
            <a:stretch/>
          </p:blipFill>
          <p:spPr bwMode="auto">
            <a:xfrm>
              <a:off x="3599907" y="5531712"/>
              <a:ext cx="330655" cy="293773"/>
            </a:xfrm>
            <a:prstGeom prst="rect">
              <a:avLst/>
            </a:prstGeom>
            <a:noFill/>
          </p:spPr>
        </p:pic>
      </p:grpSp>
      <p:sp>
        <p:nvSpPr>
          <p:cNvPr id="1336" name="TextBox 1335">
            <a:extLst>
              <a:ext uri="{FF2B5EF4-FFF2-40B4-BE49-F238E27FC236}">
                <a16:creationId xmlns:a16="http://schemas.microsoft.com/office/drawing/2014/main" id="{B321D336-89DE-4665-81AE-B53B1297F5CB}"/>
              </a:ext>
            </a:extLst>
          </p:cNvPr>
          <p:cNvSpPr txBox="1"/>
          <p:nvPr/>
        </p:nvSpPr>
        <p:spPr>
          <a:xfrm>
            <a:off x="1434324" y="5294095"/>
            <a:ext cx="814868" cy="438582"/>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a:t>
            </a:r>
          </a:p>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D</a:t>
            </a:r>
          </a:p>
        </p:txBody>
      </p:sp>
      <p:sp>
        <p:nvSpPr>
          <p:cNvPr id="1337" name="TextBox 1336">
            <a:extLst>
              <a:ext uri="{FF2B5EF4-FFF2-40B4-BE49-F238E27FC236}">
                <a16:creationId xmlns:a16="http://schemas.microsoft.com/office/drawing/2014/main" id="{AFFBE063-BF53-4343-8FBE-D8402516F20F}"/>
              </a:ext>
            </a:extLst>
          </p:cNvPr>
          <p:cNvSpPr txBox="1"/>
          <p:nvPr/>
        </p:nvSpPr>
        <p:spPr>
          <a:xfrm>
            <a:off x="2063635" y="5294095"/>
            <a:ext cx="814868" cy="438582"/>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pp Config</a:t>
            </a:r>
          </a:p>
        </p:txBody>
      </p:sp>
      <p:sp>
        <p:nvSpPr>
          <p:cNvPr id="1338" name="TextBox 1337">
            <a:extLst>
              <a:ext uri="{FF2B5EF4-FFF2-40B4-BE49-F238E27FC236}">
                <a16:creationId xmlns:a16="http://schemas.microsoft.com/office/drawing/2014/main" id="{DF7A18C5-8944-425C-A848-50F48749A10E}"/>
              </a:ext>
            </a:extLst>
          </p:cNvPr>
          <p:cNvSpPr txBox="1"/>
          <p:nvPr/>
        </p:nvSpPr>
        <p:spPr>
          <a:xfrm>
            <a:off x="2732143" y="5294095"/>
            <a:ext cx="816126" cy="438582"/>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Monitor</a:t>
            </a:r>
          </a:p>
        </p:txBody>
      </p:sp>
      <p:sp>
        <p:nvSpPr>
          <p:cNvPr id="1339" name="TextBox 1338">
            <a:extLst>
              <a:ext uri="{FF2B5EF4-FFF2-40B4-BE49-F238E27FC236}">
                <a16:creationId xmlns:a16="http://schemas.microsoft.com/office/drawing/2014/main" id="{95833BBF-094D-4C4B-BD99-D5E3D54419B6}"/>
              </a:ext>
            </a:extLst>
          </p:cNvPr>
          <p:cNvSpPr txBox="1"/>
          <p:nvPr/>
        </p:nvSpPr>
        <p:spPr>
          <a:xfrm>
            <a:off x="3895188" y="4535210"/>
            <a:ext cx="1775569" cy="265457"/>
          </a:xfrm>
          <a:prstGeom prst="rect">
            <a:avLst/>
          </a:prstGeom>
          <a:noFill/>
        </p:spPr>
        <p:txBody>
          <a:bodyPr wrap="square" anchor="ctr">
            <a:sp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Secure ARM Templates</a:t>
            </a:r>
          </a:p>
        </p:txBody>
      </p:sp>
      <p:sp>
        <p:nvSpPr>
          <p:cNvPr id="1340" name="TextBox 1339">
            <a:extLst>
              <a:ext uri="{FF2B5EF4-FFF2-40B4-BE49-F238E27FC236}">
                <a16:creationId xmlns:a16="http://schemas.microsoft.com/office/drawing/2014/main" id="{DF769AC6-9F05-4170-99EA-95FC46B1512C}"/>
              </a:ext>
            </a:extLst>
          </p:cNvPr>
          <p:cNvSpPr txBox="1"/>
          <p:nvPr/>
        </p:nvSpPr>
        <p:spPr>
          <a:xfrm>
            <a:off x="3895188" y="5037655"/>
            <a:ext cx="1775569" cy="265457"/>
          </a:xfrm>
          <a:prstGeom prst="rect">
            <a:avLst/>
          </a:prstGeom>
          <a:noFill/>
        </p:spPr>
        <p:txBody>
          <a:bodyPr wrap="square" anchor="ctr">
            <a:sp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Secure Azure Policy</a:t>
            </a:r>
          </a:p>
        </p:txBody>
      </p:sp>
      <p:sp>
        <p:nvSpPr>
          <p:cNvPr id="1341" name="TextBox 1340">
            <a:extLst>
              <a:ext uri="{FF2B5EF4-FFF2-40B4-BE49-F238E27FC236}">
                <a16:creationId xmlns:a16="http://schemas.microsoft.com/office/drawing/2014/main" id="{604CA4DC-E445-4A9C-97F9-19B0B35AF8AE}"/>
              </a:ext>
            </a:extLst>
          </p:cNvPr>
          <p:cNvSpPr txBox="1"/>
          <p:nvPr/>
        </p:nvSpPr>
        <p:spPr>
          <a:xfrm>
            <a:off x="3895188" y="5540099"/>
            <a:ext cx="1775569" cy="265457"/>
          </a:xfrm>
          <a:prstGeom prst="rect">
            <a:avLst/>
          </a:prstGeom>
          <a:noFill/>
        </p:spPr>
        <p:txBody>
          <a:bodyPr wrap="square" anchor="ctr">
            <a:sp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Key Vault</a:t>
            </a:r>
          </a:p>
        </p:txBody>
      </p:sp>
      <p:sp>
        <p:nvSpPr>
          <p:cNvPr id="1342" name="TextBox 1341">
            <a:extLst>
              <a:ext uri="{FF2B5EF4-FFF2-40B4-BE49-F238E27FC236}">
                <a16:creationId xmlns:a16="http://schemas.microsoft.com/office/drawing/2014/main" id="{8001432D-0D07-4E4E-9FAD-4784F73EAF23}"/>
              </a:ext>
            </a:extLst>
          </p:cNvPr>
          <p:cNvSpPr txBox="1"/>
          <p:nvPr/>
        </p:nvSpPr>
        <p:spPr>
          <a:xfrm>
            <a:off x="5624197" y="4589253"/>
            <a:ext cx="4079777" cy="323165"/>
          </a:xfrm>
          <a:prstGeom prst="rect">
            <a:avLst/>
          </a:prstGeom>
          <a:noFill/>
        </p:spPr>
        <p:txBody>
          <a:bodyPr wrap="square" rtlCol="0">
            <a:sp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a:ea typeface="Segoe UI" panose="020B0502040204020203" pitchFamily="34" charset="0"/>
                <a:cs typeface="Segoe UI Semibold" panose="020B0502040204020203" pitchFamily="34" charset="0"/>
              </a:rPr>
              <a:t>Azure Security Center</a:t>
            </a:r>
          </a:p>
        </p:txBody>
      </p:sp>
      <p:sp>
        <p:nvSpPr>
          <p:cNvPr id="1343" name="Rounded Rectangle 32">
            <a:extLst>
              <a:ext uri="{FF2B5EF4-FFF2-40B4-BE49-F238E27FC236}">
                <a16:creationId xmlns:a16="http://schemas.microsoft.com/office/drawing/2014/main" id="{15AAB3CF-41C5-4F11-8190-A8A4CC444A59}"/>
              </a:ext>
            </a:extLst>
          </p:cNvPr>
          <p:cNvSpPr/>
          <p:nvPr/>
        </p:nvSpPr>
        <p:spPr bwMode="auto">
          <a:xfrm>
            <a:off x="5739878" y="5020661"/>
            <a:ext cx="899790"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Secure Score</a:t>
            </a:r>
          </a:p>
        </p:txBody>
      </p:sp>
      <p:sp>
        <p:nvSpPr>
          <p:cNvPr id="1344" name="Rounded Rectangle 32">
            <a:extLst>
              <a:ext uri="{FF2B5EF4-FFF2-40B4-BE49-F238E27FC236}">
                <a16:creationId xmlns:a16="http://schemas.microsoft.com/office/drawing/2014/main" id="{154D632E-7586-4219-9E7C-937DD23871AE}"/>
              </a:ext>
            </a:extLst>
          </p:cNvPr>
          <p:cNvSpPr/>
          <p:nvPr/>
        </p:nvSpPr>
        <p:spPr bwMode="auto">
          <a:xfrm>
            <a:off x="6722752" y="5020661"/>
            <a:ext cx="899790"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99" tIns="146078" rIns="91299"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Defender</a:t>
            </a:r>
          </a:p>
        </p:txBody>
      </p:sp>
      <p:sp>
        <p:nvSpPr>
          <p:cNvPr id="1345" name="Rounded Rectangle 32">
            <a:extLst>
              <a:ext uri="{FF2B5EF4-FFF2-40B4-BE49-F238E27FC236}">
                <a16:creationId xmlns:a16="http://schemas.microsoft.com/office/drawing/2014/main" id="{EB4376E4-766E-4631-8B26-4CB163727EA3}"/>
              </a:ext>
            </a:extLst>
          </p:cNvPr>
          <p:cNvSpPr/>
          <p:nvPr/>
        </p:nvSpPr>
        <p:spPr bwMode="auto">
          <a:xfrm>
            <a:off x="7705627" y="5020661"/>
            <a:ext cx="899790"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WAF / DDoS</a:t>
            </a:r>
          </a:p>
        </p:txBody>
      </p:sp>
      <p:sp>
        <p:nvSpPr>
          <p:cNvPr id="1346" name="Rounded Rectangle 32">
            <a:extLst>
              <a:ext uri="{FF2B5EF4-FFF2-40B4-BE49-F238E27FC236}">
                <a16:creationId xmlns:a16="http://schemas.microsoft.com/office/drawing/2014/main" id="{519F02EF-74EB-49D8-9846-085E1126117B}"/>
              </a:ext>
            </a:extLst>
          </p:cNvPr>
          <p:cNvSpPr/>
          <p:nvPr/>
        </p:nvSpPr>
        <p:spPr bwMode="auto">
          <a:xfrm>
            <a:off x="8688502" y="5020661"/>
            <a:ext cx="899790" cy="65731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ctr" anchorCtr="0" forceAA="0" compatLnSpc="1">
            <a:prstTxWarp prst="textNoShape">
              <a:avLst/>
            </a:prstTxWarp>
            <a:no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Firewall</a:t>
            </a:r>
          </a:p>
        </p:txBody>
      </p:sp>
      <p:sp>
        <p:nvSpPr>
          <p:cNvPr id="1347" name="TextBox 1346">
            <a:extLst>
              <a:ext uri="{FF2B5EF4-FFF2-40B4-BE49-F238E27FC236}">
                <a16:creationId xmlns:a16="http://schemas.microsoft.com/office/drawing/2014/main" id="{4F8F2376-4080-463F-8E84-A231A0D22AA9}"/>
              </a:ext>
            </a:extLst>
          </p:cNvPr>
          <p:cNvSpPr txBox="1"/>
          <p:nvPr/>
        </p:nvSpPr>
        <p:spPr>
          <a:xfrm>
            <a:off x="10026289" y="5294095"/>
            <a:ext cx="995570" cy="265457"/>
          </a:xfrm>
          <a:prstGeom prst="rect">
            <a:avLst/>
          </a:prstGeom>
          <a:noFill/>
        </p:spPr>
        <p:txBody>
          <a:bodyPr wrap="square">
            <a:spAutoFit/>
          </a:bodyPr>
          <a:lstStyle/>
          <a:p>
            <a:pPr marL="0" marR="0" lvl="0" indent="0" algn="ctr" defTabSz="931015" rtl="0" eaLnBrk="1" fontAlgn="base" latinLnBrk="0" hangingPunct="1">
              <a:lnSpc>
                <a:spcPct val="100000"/>
              </a:lnSpc>
              <a:spcBef>
                <a:spcPct val="0"/>
              </a:spcBef>
              <a:spcAft>
                <a:spcPct val="0"/>
              </a:spcAft>
              <a:buClrTx/>
              <a:buSzTx/>
              <a:buFontTx/>
              <a:buNone/>
              <a:tabLst/>
              <a:defRPr/>
            </a:pPr>
            <a:r>
              <a:rPr kumimoji="0" lang="en-US" sz="1125" b="0" i="0" u="none" strike="noStrike" kern="1200" cap="none" spc="0" normalizeH="0" baseline="0" noProof="0">
                <a:ln>
                  <a:noFill/>
                </a:ln>
                <a:solidFill>
                  <a:prstClr val="white"/>
                </a:solidFill>
                <a:effectLst/>
                <a:uLnTx/>
                <a:uFillTx/>
                <a:latin typeface="Helvetica"/>
                <a:ea typeface="Segoe UI" pitchFamily="34" charset="0"/>
                <a:cs typeface="Segoe UI" pitchFamily="34" charset="0"/>
              </a:rPr>
              <a:t>Sentinel</a:t>
            </a:r>
          </a:p>
        </p:txBody>
      </p:sp>
    </p:spTree>
    <p:custDataLst>
      <p:tags r:id="rId1"/>
    </p:custDataLst>
    <p:extLst>
      <p:ext uri="{BB962C8B-B14F-4D97-AF65-F5344CB8AC3E}">
        <p14:creationId xmlns:p14="http://schemas.microsoft.com/office/powerpoint/2010/main" val="221246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20B91CE-576F-478A-A5A7-B367A460D18B}"/>
              </a:ext>
              <a:ext uri="{C183D7F6-B498-43B3-948B-1728B52AA6E4}">
                <adec:decorative xmlns:adec="http://schemas.microsoft.com/office/drawing/2017/decorative" val="1"/>
              </a:ext>
            </a:extLst>
          </p:cNvPr>
          <p:cNvGrpSpPr/>
          <p:nvPr/>
        </p:nvGrpSpPr>
        <p:grpSpPr>
          <a:xfrm>
            <a:off x="7937518" y="0"/>
            <a:ext cx="4245057" cy="4037372"/>
            <a:chOff x="7937518" y="0"/>
            <a:chExt cx="4245057" cy="4037372"/>
          </a:xfrm>
        </p:grpSpPr>
        <p:pic>
          <p:nvPicPr>
            <p:cNvPr id="65" name="Picture 64">
              <a:extLst>
                <a:ext uri="{FF2B5EF4-FFF2-40B4-BE49-F238E27FC236}">
                  <a16:creationId xmlns:a16="http://schemas.microsoft.com/office/drawing/2014/main" id="{4DA28CEC-2CCB-4C1E-8A97-40DFCC8038AB}"/>
                </a:ext>
                <a:ext uri="{C183D7F6-B498-43B3-948B-1728B52AA6E4}">
                  <adec:decorative xmlns:adec="http://schemas.microsoft.com/office/drawing/2017/decorative" val="1"/>
                </a:ext>
              </a:extLst>
            </p:cNvPr>
            <p:cNvPicPr>
              <a:picLocks noChangeAspect="1"/>
            </p:cNvPicPr>
            <p:nvPr/>
          </p:nvPicPr>
          <p:blipFill rotWithShape="1">
            <a:blip r:embed="rId4">
              <a:alphaModFix amt="30000"/>
              <a:extLst>
                <a:ext uri="{28A0092B-C50C-407E-A947-70E740481C1C}">
                  <a14:useLocalDpi xmlns:a14="http://schemas.microsoft.com/office/drawing/2010/main" val="0"/>
                </a:ext>
              </a:extLst>
            </a:blip>
            <a:srcRect t="27833" r="16448"/>
            <a:stretch/>
          </p:blipFill>
          <p:spPr>
            <a:xfrm>
              <a:off x="7991207" y="0"/>
              <a:ext cx="4191368" cy="3620224"/>
            </a:xfrm>
            <a:prstGeom prst="rect">
              <a:avLst/>
            </a:prstGeom>
          </p:spPr>
        </p:pic>
        <p:pic>
          <p:nvPicPr>
            <p:cNvPr id="82" name="Picture 81">
              <a:extLst>
                <a:ext uri="{FF2B5EF4-FFF2-40B4-BE49-F238E27FC236}">
                  <a16:creationId xmlns:a16="http://schemas.microsoft.com/office/drawing/2014/main" id="{780EF76A-5908-4851-8788-26F6B43D63AB}"/>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l="34574"/>
            <a:stretch/>
          </p:blipFill>
          <p:spPr>
            <a:xfrm>
              <a:off x="9052231" y="1"/>
              <a:ext cx="3129559" cy="4037371"/>
            </a:xfrm>
            <a:prstGeom prst="rect">
              <a:avLst/>
            </a:prstGeom>
          </p:spPr>
        </p:pic>
        <p:sp>
          <p:nvSpPr>
            <p:cNvPr id="3" name="Rectangle 2">
              <a:extLst>
                <a:ext uri="{FF2B5EF4-FFF2-40B4-BE49-F238E27FC236}">
                  <a16:creationId xmlns:a16="http://schemas.microsoft.com/office/drawing/2014/main" id="{EC426ACF-3E17-466E-98A5-0A781350AC0B}"/>
                </a:ext>
                <a:ext uri="{C183D7F6-B498-43B3-948B-1728B52AA6E4}">
                  <adec:decorative xmlns:adec="http://schemas.microsoft.com/office/drawing/2017/decorative" val="1"/>
                </a:ext>
              </a:extLst>
            </p:cNvPr>
            <p:cNvSpPr/>
            <p:nvPr/>
          </p:nvSpPr>
          <p:spPr>
            <a:xfrm>
              <a:off x="7937518" y="0"/>
              <a:ext cx="4245056" cy="4037371"/>
            </a:xfrm>
            <a:prstGeom prst="rect">
              <a:avLst/>
            </a:prstGeom>
            <a:solidFill>
              <a:srgbClr val="1D1F34">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sp>
        <p:nvSpPr>
          <p:cNvPr id="33" name="Title 7">
            <a:extLst>
              <a:ext uri="{FF2B5EF4-FFF2-40B4-BE49-F238E27FC236}">
                <a16:creationId xmlns:a16="http://schemas.microsoft.com/office/drawing/2014/main" id="{19522803-7AAF-6843-A0DA-910E49B10590}"/>
              </a:ext>
            </a:extLst>
          </p:cNvPr>
          <p:cNvSpPr>
            <a:spLocks noGrp="1"/>
          </p:cNvSpPr>
          <p:nvPr>
            <p:ph type="title"/>
          </p:nvPr>
        </p:nvSpPr>
        <p:spPr>
          <a:xfrm>
            <a:off x="759520" y="553357"/>
            <a:ext cx="10662047" cy="705304"/>
          </a:xfrm>
        </p:spPr>
        <p:txBody>
          <a:bodyPr anchor="t"/>
          <a:lstStyle/>
          <a:p>
            <a:r>
              <a:rPr lang="en-US"/>
              <a:t>Secure software development </a:t>
            </a:r>
            <a:br>
              <a:rPr lang="en-US"/>
            </a:br>
            <a:r>
              <a:rPr lang="en-US"/>
              <a:t>with DevSecOps</a:t>
            </a:r>
          </a:p>
        </p:txBody>
      </p:sp>
      <p:grpSp>
        <p:nvGrpSpPr>
          <p:cNvPr id="162" name="Group 161">
            <a:extLst>
              <a:ext uri="{FF2B5EF4-FFF2-40B4-BE49-F238E27FC236}">
                <a16:creationId xmlns:a16="http://schemas.microsoft.com/office/drawing/2014/main" id="{2F95185B-31C2-432C-A588-9BE92A79355D}"/>
              </a:ext>
              <a:ext uri="{C183D7F6-B498-43B3-948B-1728B52AA6E4}">
                <adec:decorative xmlns:adec="http://schemas.microsoft.com/office/drawing/2017/decorative" val="1"/>
              </a:ext>
            </a:extLst>
          </p:cNvPr>
          <p:cNvGrpSpPr/>
          <p:nvPr/>
        </p:nvGrpSpPr>
        <p:grpSpPr>
          <a:xfrm>
            <a:off x="9424" y="1841699"/>
            <a:ext cx="12173151" cy="1267640"/>
            <a:chOff x="9424" y="1841699"/>
            <a:chExt cx="12173151" cy="1267640"/>
          </a:xfrm>
        </p:grpSpPr>
        <p:sp>
          <p:nvSpPr>
            <p:cNvPr id="163" name="Freeform: Shape 162">
              <a:extLst>
                <a:ext uri="{FF2B5EF4-FFF2-40B4-BE49-F238E27FC236}">
                  <a16:creationId xmlns:a16="http://schemas.microsoft.com/office/drawing/2014/main" id="{B1B85477-6A4C-462B-928D-DEF40AD52DD0}"/>
                </a:ext>
                <a:ext uri="{C183D7F6-B498-43B3-948B-1728B52AA6E4}">
                  <adec:decorative xmlns:adec="http://schemas.microsoft.com/office/drawing/2017/decorative" val="1"/>
                </a:ext>
              </a:extLst>
            </p:cNvPr>
            <p:cNvSpPr/>
            <p:nvPr/>
          </p:nvSpPr>
          <p:spPr>
            <a:xfrm flipH="1">
              <a:off x="6607272" y="2102018"/>
              <a:ext cx="5575303" cy="571500"/>
            </a:xfrm>
            <a:custGeom>
              <a:avLst/>
              <a:gdLst>
                <a:gd name="connsiteX0" fmla="*/ 0 w 8920485"/>
                <a:gd name="connsiteY0" fmla="*/ 0 h 914400"/>
                <a:gd name="connsiteX1" fmla="*/ 8046721 w 8920485"/>
                <a:gd name="connsiteY1" fmla="*/ 0 h 914400"/>
                <a:gd name="connsiteX2" fmla="*/ 8721207 w 8920485"/>
                <a:gd name="connsiteY2" fmla="*/ 0 h 914400"/>
                <a:gd name="connsiteX3" fmla="*/ 8920485 w 8920485"/>
                <a:gd name="connsiteY3" fmla="*/ 0 h 914400"/>
                <a:gd name="connsiteX4" fmla="*/ 8897602 w 8920485"/>
                <a:gd name="connsiteY4" fmla="*/ 30601 h 914400"/>
                <a:gd name="connsiteX5" fmla="*/ 8729644 w 8920485"/>
                <a:gd name="connsiteY5" fmla="*/ 493914 h 914400"/>
                <a:gd name="connsiteX6" fmla="*/ 8729350 w 8920485"/>
                <a:gd name="connsiteY6" fmla="*/ 499727 h 914400"/>
                <a:gd name="connsiteX7" fmla="*/ 8721207 w 8920485"/>
                <a:gd name="connsiteY7" fmla="*/ 499727 h 914400"/>
                <a:gd name="connsiteX8" fmla="*/ 8721207 w 8920485"/>
                <a:gd name="connsiteY8" fmla="*/ 761997 h 914400"/>
                <a:gd name="connsiteX9" fmla="*/ 8568804 w 8920485"/>
                <a:gd name="connsiteY9" fmla="*/ 914400 h 914400"/>
                <a:gd name="connsiteX10" fmla="*/ 0 w 892048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20485" h="914400">
                  <a:moveTo>
                    <a:pt x="0" y="0"/>
                  </a:moveTo>
                  <a:lnTo>
                    <a:pt x="8046721" y="0"/>
                  </a:lnTo>
                  <a:lnTo>
                    <a:pt x="8721207" y="0"/>
                  </a:lnTo>
                  <a:lnTo>
                    <a:pt x="8920485" y="0"/>
                  </a:lnTo>
                  <a:lnTo>
                    <a:pt x="8897602" y="30601"/>
                  </a:lnTo>
                  <a:cubicBezTo>
                    <a:pt x="8806481" y="165479"/>
                    <a:pt x="8746955" y="323457"/>
                    <a:pt x="8729644" y="493914"/>
                  </a:cubicBezTo>
                  <a:lnTo>
                    <a:pt x="8729350" y="499727"/>
                  </a:lnTo>
                  <a:lnTo>
                    <a:pt x="8721207" y="499727"/>
                  </a:lnTo>
                  <a:lnTo>
                    <a:pt x="8721207" y="761997"/>
                  </a:lnTo>
                  <a:cubicBezTo>
                    <a:pt x="8721207" y="846167"/>
                    <a:pt x="8652974" y="914400"/>
                    <a:pt x="8568804" y="914400"/>
                  </a:cubicBezTo>
                  <a:lnTo>
                    <a:pt x="0" y="914400"/>
                  </a:lnTo>
                  <a:close/>
                </a:path>
              </a:pathLst>
            </a:custGeom>
            <a:solidFill>
              <a:schemeClr val="accent2">
                <a:lumMod val="75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164" name="Freeform: Shape 163">
              <a:extLst>
                <a:ext uri="{FF2B5EF4-FFF2-40B4-BE49-F238E27FC236}">
                  <a16:creationId xmlns:a16="http://schemas.microsoft.com/office/drawing/2014/main" id="{639EBF03-8D5B-423A-9BC4-A2224EC72DAA}"/>
                </a:ext>
                <a:ext uri="{C183D7F6-B498-43B3-948B-1728B52AA6E4}">
                  <adec:decorative xmlns:adec="http://schemas.microsoft.com/office/drawing/2017/decorative" val="1"/>
                </a:ext>
              </a:extLst>
            </p:cNvPr>
            <p:cNvSpPr/>
            <p:nvPr/>
          </p:nvSpPr>
          <p:spPr>
            <a:xfrm>
              <a:off x="9425" y="2102018"/>
              <a:ext cx="5575303" cy="571500"/>
            </a:xfrm>
            <a:custGeom>
              <a:avLst/>
              <a:gdLst>
                <a:gd name="connsiteX0" fmla="*/ 0 w 8920485"/>
                <a:gd name="connsiteY0" fmla="*/ 0 h 914400"/>
                <a:gd name="connsiteX1" fmla="*/ 8046721 w 8920485"/>
                <a:gd name="connsiteY1" fmla="*/ 0 h 914400"/>
                <a:gd name="connsiteX2" fmla="*/ 8721207 w 8920485"/>
                <a:gd name="connsiteY2" fmla="*/ 0 h 914400"/>
                <a:gd name="connsiteX3" fmla="*/ 8920485 w 8920485"/>
                <a:gd name="connsiteY3" fmla="*/ 0 h 914400"/>
                <a:gd name="connsiteX4" fmla="*/ 8897602 w 8920485"/>
                <a:gd name="connsiteY4" fmla="*/ 30601 h 914400"/>
                <a:gd name="connsiteX5" fmla="*/ 8729644 w 8920485"/>
                <a:gd name="connsiteY5" fmla="*/ 493914 h 914400"/>
                <a:gd name="connsiteX6" fmla="*/ 8729350 w 8920485"/>
                <a:gd name="connsiteY6" fmla="*/ 499727 h 914400"/>
                <a:gd name="connsiteX7" fmla="*/ 8721207 w 8920485"/>
                <a:gd name="connsiteY7" fmla="*/ 499727 h 914400"/>
                <a:gd name="connsiteX8" fmla="*/ 8721207 w 8920485"/>
                <a:gd name="connsiteY8" fmla="*/ 761997 h 914400"/>
                <a:gd name="connsiteX9" fmla="*/ 8568804 w 8920485"/>
                <a:gd name="connsiteY9" fmla="*/ 914400 h 914400"/>
                <a:gd name="connsiteX10" fmla="*/ 0 w 892048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20485" h="914400">
                  <a:moveTo>
                    <a:pt x="0" y="0"/>
                  </a:moveTo>
                  <a:lnTo>
                    <a:pt x="8046721" y="0"/>
                  </a:lnTo>
                  <a:lnTo>
                    <a:pt x="8721207" y="0"/>
                  </a:lnTo>
                  <a:lnTo>
                    <a:pt x="8920485" y="0"/>
                  </a:lnTo>
                  <a:lnTo>
                    <a:pt x="8897602" y="30601"/>
                  </a:lnTo>
                  <a:cubicBezTo>
                    <a:pt x="8806481" y="165479"/>
                    <a:pt x="8746955" y="323457"/>
                    <a:pt x="8729644" y="493914"/>
                  </a:cubicBezTo>
                  <a:lnTo>
                    <a:pt x="8729350" y="499727"/>
                  </a:lnTo>
                  <a:lnTo>
                    <a:pt x="8721207" y="499727"/>
                  </a:lnTo>
                  <a:lnTo>
                    <a:pt x="8721207" y="761997"/>
                  </a:lnTo>
                  <a:cubicBezTo>
                    <a:pt x="8721207" y="846167"/>
                    <a:pt x="8652974" y="914400"/>
                    <a:pt x="8568804" y="914400"/>
                  </a:cubicBezTo>
                  <a:lnTo>
                    <a:pt x="0" y="914400"/>
                  </a:lnTo>
                  <a:close/>
                </a:path>
              </a:pathLst>
            </a:custGeom>
            <a:solidFill>
              <a:schemeClr val="accent2">
                <a:lumMod val="75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165" name="Arc 164">
              <a:extLst>
                <a:ext uri="{FF2B5EF4-FFF2-40B4-BE49-F238E27FC236}">
                  <a16:creationId xmlns:a16="http://schemas.microsoft.com/office/drawing/2014/main" id="{EB3ED9FF-CC78-46A9-B293-F60DE3D55BC7}"/>
                </a:ext>
                <a:ext uri="{C183D7F6-B498-43B3-948B-1728B52AA6E4}">
                  <adec:decorative xmlns:adec="http://schemas.microsoft.com/office/drawing/2017/decorative" val="1"/>
                </a:ext>
              </a:extLst>
            </p:cNvPr>
            <p:cNvSpPr/>
            <p:nvPr/>
          </p:nvSpPr>
          <p:spPr>
            <a:xfrm>
              <a:off x="5462180" y="1841699"/>
              <a:ext cx="1267640" cy="1267640"/>
            </a:xfrm>
            <a:prstGeom prst="arc">
              <a:avLst>
                <a:gd name="adj1" fmla="val 10905811"/>
                <a:gd name="adj2" fmla="val 0"/>
              </a:avLst>
            </a:prstGeom>
            <a:noFill/>
            <a:ln w="31750">
              <a:solidFill>
                <a:schemeClr val="accent2"/>
              </a:solid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166" name="Arrow: Bent 165">
              <a:extLst>
                <a:ext uri="{FF2B5EF4-FFF2-40B4-BE49-F238E27FC236}">
                  <a16:creationId xmlns:a16="http://schemas.microsoft.com/office/drawing/2014/main" id="{1CC025D2-71E6-4938-B13B-A81D3349A9AB}"/>
                </a:ext>
                <a:ext uri="{C183D7F6-B498-43B3-948B-1728B52AA6E4}">
                  <adec:decorative xmlns:adec="http://schemas.microsoft.com/office/drawing/2017/decorative" val="1"/>
                </a:ext>
              </a:extLst>
            </p:cNvPr>
            <p:cNvSpPr/>
            <p:nvPr/>
          </p:nvSpPr>
          <p:spPr>
            <a:xfrm rot="10800000">
              <a:off x="9424" y="2449074"/>
              <a:ext cx="5452754" cy="224444"/>
            </a:xfrm>
            <a:prstGeom prst="bentArrow">
              <a:avLst>
                <a:gd name="adj1" fmla="val 25000"/>
                <a:gd name="adj2" fmla="val 0"/>
                <a:gd name="adj3" fmla="val 25000"/>
                <a:gd name="adj4" fmla="val 43750"/>
              </a:avLst>
            </a:prstGeom>
            <a:noFill/>
            <a:ln w="31750">
              <a:solidFill>
                <a:schemeClr val="accent2"/>
              </a:solid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167" name="Arrow: Bent 166">
              <a:extLst>
                <a:ext uri="{FF2B5EF4-FFF2-40B4-BE49-F238E27FC236}">
                  <a16:creationId xmlns:a16="http://schemas.microsoft.com/office/drawing/2014/main" id="{98138EA0-06A5-416F-812B-92E4B58EE613}"/>
                </a:ext>
                <a:ext uri="{C183D7F6-B498-43B3-948B-1728B52AA6E4}">
                  <adec:decorative xmlns:adec="http://schemas.microsoft.com/office/drawing/2017/decorative" val="1"/>
                </a:ext>
              </a:extLst>
            </p:cNvPr>
            <p:cNvSpPr/>
            <p:nvPr/>
          </p:nvSpPr>
          <p:spPr>
            <a:xfrm rot="10800000" flipH="1">
              <a:off x="6729821" y="2449075"/>
              <a:ext cx="5452754" cy="224444"/>
            </a:xfrm>
            <a:prstGeom prst="bentArrow">
              <a:avLst>
                <a:gd name="adj1" fmla="val 25000"/>
                <a:gd name="adj2" fmla="val 0"/>
                <a:gd name="adj3" fmla="val 25000"/>
                <a:gd name="adj4" fmla="val 43750"/>
              </a:avLst>
            </a:prstGeom>
            <a:noFill/>
            <a:ln w="31750">
              <a:solidFill>
                <a:schemeClr val="accent2"/>
              </a:solid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168" name="Oval 167">
              <a:extLst>
                <a:ext uri="{FF2B5EF4-FFF2-40B4-BE49-F238E27FC236}">
                  <a16:creationId xmlns:a16="http://schemas.microsoft.com/office/drawing/2014/main" id="{9C5F8DC2-6297-40A7-915E-52A408F0172D}"/>
                </a:ext>
                <a:ext uri="{C183D7F6-B498-43B3-948B-1728B52AA6E4}">
                  <adec:decorative xmlns:adec="http://schemas.microsoft.com/office/drawing/2017/decorative" val="1"/>
                </a:ext>
              </a:extLst>
            </p:cNvPr>
            <p:cNvSpPr/>
            <p:nvPr/>
          </p:nvSpPr>
          <p:spPr>
            <a:xfrm>
              <a:off x="5594670" y="1955212"/>
              <a:ext cx="1002661" cy="1002663"/>
            </a:xfrm>
            <a:prstGeom prst="ellipse">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31005" rtl="0" eaLnBrk="1" fontAlgn="auto" latinLnBrk="0" hangingPunct="1">
                <a:lnSpc>
                  <a:spcPct val="100000"/>
                </a:lnSpc>
                <a:spcBef>
                  <a:spcPct val="20000"/>
                </a:spcBef>
                <a:spcAft>
                  <a:spcPts val="0"/>
                </a:spcAft>
                <a:buClrTx/>
                <a:buSzPct val="90000"/>
                <a:buFontTx/>
                <a:buNone/>
                <a:tabLst/>
                <a:defRPr/>
              </a:pPr>
              <a:endParaRPr kumimoji="0" lang="en-US" sz="3375" b="1" i="0" u="none" strike="noStrike" kern="1200" cap="none" spc="0" normalizeH="0" baseline="0" noProof="0">
                <a:ln>
                  <a:noFill/>
                </a:ln>
                <a:solidFill>
                  <a:srgbClr val="FFFFFF"/>
                </a:solidFill>
                <a:effectLst/>
                <a:uLnTx/>
                <a:uFillTx/>
                <a:latin typeface="Helvetica"/>
                <a:ea typeface="+mn-ea"/>
                <a:cs typeface="Segoe UI Semibold" panose="020B0502040204020203" pitchFamily="34" charset="0"/>
              </a:endParaRPr>
            </a:p>
          </p:txBody>
        </p:sp>
      </p:grpSp>
      <p:sp>
        <p:nvSpPr>
          <p:cNvPr id="211" name="Text Placeholder 6" descr="Security “Shift left” and prevent vulnerabilities in source code before they are deployed into production&#10;">
            <a:extLst>
              <a:ext uri="{FF2B5EF4-FFF2-40B4-BE49-F238E27FC236}">
                <a16:creationId xmlns:a16="http://schemas.microsoft.com/office/drawing/2014/main" id="{21C3B815-AFD4-4A0E-8C8E-219FA76D3640}"/>
              </a:ext>
              <a:ext uri="{C183D7F6-B498-43B3-948B-1728B52AA6E4}">
                <adec:decorative xmlns:adec="http://schemas.microsoft.com/office/drawing/2017/decorative" val="0"/>
              </a:ext>
            </a:extLst>
          </p:cNvPr>
          <p:cNvSpPr txBox="1">
            <a:spLocks/>
          </p:cNvSpPr>
          <p:nvPr/>
        </p:nvSpPr>
        <p:spPr>
          <a:xfrm>
            <a:off x="1153773" y="2179418"/>
            <a:ext cx="3286608" cy="416701"/>
          </a:xfrm>
          <a:prstGeom prst="rect">
            <a:avLst/>
          </a:prstGeom>
          <a:noFill/>
        </p:spPr>
        <p:txBody>
          <a:bodyPr lIns="0" tIns="0" rIns="0" bIns="0" anchor="ct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110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250" b="1" i="0" u="none" strike="noStrike" kern="1200" cap="none" spc="0" normalizeH="0" baseline="0" noProof="0">
                <a:ln>
                  <a:noFill/>
                </a:ln>
                <a:solidFill>
                  <a:srgbClr val="9477E2"/>
                </a:solidFill>
                <a:effectLst/>
                <a:uLnTx/>
                <a:uFillTx/>
                <a:latin typeface="Helvetica"/>
                <a:ea typeface="+mn-ea"/>
                <a:cs typeface="Segoe UI Light" panose="020B0502040204020203" pitchFamily="34" charset="0"/>
              </a:rPr>
              <a:t>GitHub</a:t>
            </a:r>
          </a:p>
        </p:txBody>
      </p:sp>
      <p:sp>
        <p:nvSpPr>
          <p:cNvPr id="231" name="Plus Sign 230" descr="A plus sign">
            <a:extLst>
              <a:ext uri="{FF2B5EF4-FFF2-40B4-BE49-F238E27FC236}">
                <a16:creationId xmlns:a16="http://schemas.microsoft.com/office/drawing/2014/main" id="{32ECC247-12F7-4403-A126-34C26891562F}"/>
              </a:ext>
              <a:ext uri="{C183D7F6-B498-43B3-948B-1728B52AA6E4}">
                <adec:decorative xmlns:adec="http://schemas.microsoft.com/office/drawing/2017/decorative" val="0"/>
              </a:ext>
            </a:extLst>
          </p:cNvPr>
          <p:cNvSpPr/>
          <p:nvPr/>
        </p:nvSpPr>
        <p:spPr bwMode="auto">
          <a:xfrm>
            <a:off x="5679900" y="2040444"/>
            <a:ext cx="832201" cy="832200"/>
          </a:xfrm>
          <a:prstGeom prst="mathPlus">
            <a:avLst>
              <a:gd name="adj1" fmla="val 1940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8" tIns="146078" rIns="182598" bIns="146078" numCol="1" spcCol="0" rtlCol="0" fromWordArt="0" anchor="t" anchorCtr="0" forceAA="0" compatLnSpc="1">
            <a:prstTxWarp prst="textNoShape">
              <a:avLst/>
            </a:prstTxWarp>
            <a:noAutofit/>
          </a:bodyPr>
          <a:lstStyle/>
          <a:p>
            <a:pPr marL="0" marR="0" lvl="0" indent="0" algn="l" defTabSz="931015" rtl="0" eaLnBrk="1" fontAlgn="base" latinLnBrk="0" hangingPunct="1">
              <a:lnSpc>
                <a:spcPct val="100000"/>
              </a:lnSpc>
              <a:spcBef>
                <a:spcPct val="0"/>
              </a:spcBef>
              <a:spcAft>
                <a:spcPct val="0"/>
              </a:spcAft>
              <a:buClrTx/>
              <a:buSzTx/>
              <a:buFontTx/>
              <a:buNone/>
              <a:tabLst/>
              <a:defRPr/>
            </a:pPr>
            <a:endParaRPr kumimoji="0" lang="en-US" sz="1997"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271" name="Text Placeholder 6" descr="Compliance- Policy-as-code">
            <a:extLst>
              <a:ext uri="{FF2B5EF4-FFF2-40B4-BE49-F238E27FC236}">
                <a16:creationId xmlns:a16="http://schemas.microsoft.com/office/drawing/2014/main" id="{445521FE-32CD-4E9F-80AD-C00DE8C2379F}"/>
              </a:ext>
            </a:extLst>
          </p:cNvPr>
          <p:cNvSpPr txBox="1">
            <a:spLocks/>
          </p:cNvSpPr>
          <p:nvPr/>
        </p:nvSpPr>
        <p:spPr>
          <a:xfrm>
            <a:off x="7748565" y="2179418"/>
            <a:ext cx="3292715" cy="416701"/>
          </a:xfrm>
          <a:prstGeom prst="rect">
            <a:avLst/>
          </a:prstGeom>
          <a:noFill/>
        </p:spPr>
        <p:txBody>
          <a:bodyPr lIns="0" tIns="0" rIns="0" bIns="0" anchor="ctr">
            <a:noAutofit/>
          </a:bodyPr>
          <a:lstStyle>
            <a:defPPr>
              <a:defRPr lang="en-US"/>
            </a:defPPr>
            <a:lvl1pPr marR="0" indent="0" algn="ctr" defTabSz="1489769" fontAlgn="auto">
              <a:lnSpc>
                <a:spcPct val="100000"/>
              </a:lnSpc>
              <a:spcBef>
                <a:spcPts val="0"/>
              </a:spcBef>
              <a:spcAft>
                <a:spcPts val="0"/>
              </a:spcAft>
              <a:buClrTx/>
              <a:buSzPct val="90000"/>
              <a:buFont typeface="Wingdings" panose="05000000000000000000" pitchFamily="2" charset="2"/>
              <a:buNone/>
              <a:tabLst/>
              <a:defRPr sz="3600" b="1" spc="0" baseline="0">
                <a:solidFill>
                  <a:schemeClr val="accent2"/>
                </a:solidFill>
                <a:cs typeface="Segoe UI Light"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110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250" b="1" i="0" u="none" strike="noStrike" kern="1200" cap="none" spc="0" normalizeH="0" baseline="0" noProof="0">
                <a:ln>
                  <a:noFill/>
                </a:ln>
                <a:solidFill>
                  <a:srgbClr val="9477E2"/>
                </a:solidFill>
                <a:effectLst/>
                <a:uLnTx/>
                <a:uFillTx/>
                <a:latin typeface="Helvetica"/>
                <a:ea typeface="+mn-ea"/>
                <a:cs typeface="Segoe UI Light" panose="020B0502040204020203" pitchFamily="34" charset="0"/>
              </a:rPr>
              <a:t>Azure</a:t>
            </a:r>
          </a:p>
        </p:txBody>
      </p:sp>
      <p:grpSp>
        <p:nvGrpSpPr>
          <p:cNvPr id="2" name="Group 1">
            <a:extLst>
              <a:ext uri="{FF2B5EF4-FFF2-40B4-BE49-F238E27FC236}">
                <a16:creationId xmlns:a16="http://schemas.microsoft.com/office/drawing/2014/main" id="{C8E272F7-9CD8-42BC-B593-AA765D1E7BB4}"/>
              </a:ext>
              <a:ext uri="{C183D7F6-B498-43B3-948B-1728B52AA6E4}">
                <adec:decorative xmlns:adec="http://schemas.microsoft.com/office/drawing/2017/decorative" val="1"/>
              </a:ext>
            </a:extLst>
          </p:cNvPr>
          <p:cNvGrpSpPr/>
          <p:nvPr/>
        </p:nvGrpSpPr>
        <p:grpSpPr>
          <a:xfrm>
            <a:off x="8134284" y="3411801"/>
            <a:ext cx="4057716" cy="2838029"/>
            <a:chOff x="9426" y="3411801"/>
            <a:chExt cx="4057716" cy="2838029"/>
          </a:xfrm>
        </p:grpSpPr>
        <p:grpSp>
          <p:nvGrpSpPr>
            <p:cNvPr id="272" name="Group 271">
              <a:extLst>
                <a:ext uri="{FF2B5EF4-FFF2-40B4-BE49-F238E27FC236}">
                  <a16:creationId xmlns:a16="http://schemas.microsoft.com/office/drawing/2014/main" id="{E33A50DC-4969-480E-A628-62BDCDF2F363}"/>
                </a:ext>
                <a:ext uri="{C183D7F6-B498-43B3-948B-1728B52AA6E4}">
                  <adec:decorative xmlns:adec="http://schemas.microsoft.com/office/drawing/2017/decorative" val="1"/>
                </a:ext>
              </a:extLst>
            </p:cNvPr>
            <p:cNvGrpSpPr/>
            <p:nvPr/>
          </p:nvGrpSpPr>
          <p:grpSpPr>
            <a:xfrm>
              <a:off x="9426" y="3411801"/>
              <a:ext cx="4057716" cy="2838029"/>
              <a:chOff x="9426" y="3411801"/>
              <a:chExt cx="4057716" cy="2838029"/>
            </a:xfrm>
          </p:grpSpPr>
          <p:sp>
            <p:nvSpPr>
              <p:cNvPr id="273" name="Rectangle 272">
                <a:extLst>
                  <a:ext uri="{FF2B5EF4-FFF2-40B4-BE49-F238E27FC236}">
                    <a16:creationId xmlns:a16="http://schemas.microsoft.com/office/drawing/2014/main" id="{8A2F561D-0404-4FA5-B9D3-8127F60444F4}"/>
                  </a:ext>
                  <a:ext uri="{C183D7F6-B498-43B3-948B-1728B52AA6E4}">
                    <adec:decorative xmlns:adec="http://schemas.microsoft.com/office/drawing/2017/decorative" val="1"/>
                  </a:ext>
                </a:extLst>
              </p:cNvPr>
              <p:cNvSpPr/>
              <p:nvPr/>
            </p:nvSpPr>
            <p:spPr>
              <a:xfrm>
                <a:off x="9426" y="4037371"/>
                <a:ext cx="4057716" cy="2212459"/>
              </a:xfrm>
              <a:prstGeom prst="rect">
                <a:avLst/>
              </a:prstGeom>
              <a:gradFill flip="none" rotWithShape="1">
                <a:gsLst>
                  <a:gs pos="2000">
                    <a:srgbClr val="1F9CF0"/>
                  </a:gs>
                  <a:gs pos="100000">
                    <a:schemeClr val="accent2">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274" name="Group 273">
                <a:extLst>
                  <a:ext uri="{FF2B5EF4-FFF2-40B4-BE49-F238E27FC236}">
                    <a16:creationId xmlns:a16="http://schemas.microsoft.com/office/drawing/2014/main" id="{1DB25A2C-3CDA-49AB-8C6B-40F3246EF996}"/>
                  </a:ext>
                  <a:ext uri="{C183D7F6-B498-43B3-948B-1728B52AA6E4}">
                    <adec:decorative xmlns:adec="http://schemas.microsoft.com/office/drawing/2017/decorative" val="1"/>
                  </a:ext>
                </a:extLst>
              </p:cNvPr>
              <p:cNvGrpSpPr/>
              <p:nvPr/>
            </p:nvGrpSpPr>
            <p:grpSpPr>
              <a:xfrm>
                <a:off x="1375831" y="3411801"/>
                <a:ext cx="1252208" cy="1251585"/>
                <a:chOff x="1375831" y="3411801"/>
                <a:chExt cx="1252208" cy="1251585"/>
              </a:xfrm>
            </p:grpSpPr>
            <p:sp>
              <p:nvSpPr>
                <p:cNvPr id="275" name="Oval 274">
                  <a:extLst>
                    <a:ext uri="{FF2B5EF4-FFF2-40B4-BE49-F238E27FC236}">
                      <a16:creationId xmlns:a16="http://schemas.microsoft.com/office/drawing/2014/main" id="{DD128DB5-B9E9-4B15-9531-C1D2A772023C}"/>
                    </a:ext>
                    <a:ext uri="{C183D7F6-B498-43B3-948B-1728B52AA6E4}">
                      <adec:decorative xmlns:adec="http://schemas.microsoft.com/office/drawing/2017/decorative" val="1"/>
                    </a:ext>
                  </a:extLst>
                </p:cNvPr>
                <p:cNvSpPr/>
                <p:nvPr/>
              </p:nvSpPr>
              <p:spPr>
                <a:xfrm>
                  <a:off x="1375831" y="3411801"/>
                  <a:ext cx="1252208" cy="1251585"/>
                </a:xfrm>
                <a:prstGeom prst="ellipse">
                  <a:avLst/>
                </a:prstGeom>
                <a:solidFill>
                  <a:srgbClr val="1F9CF0">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276" name="Oval 275">
                  <a:extLst>
                    <a:ext uri="{FF2B5EF4-FFF2-40B4-BE49-F238E27FC236}">
                      <a16:creationId xmlns:a16="http://schemas.microsoft.com/office/drawing/2014/main" id="{33D04079-1F95-486A-A30D-038117FD066C}"/>
                    </a:ext>
                    <a:ext uri="{C183D7F6-B498-43B3-948B-1728B52AA6E4}">
                      <adec:decorative xmlns:adec="http://schemas.microsoft.com/office/drawing/2017/decorative" val="1"/>
                    </a:ext>
                  </a:extLst>
                </p:cNvPr>
                <p:cNvSpPr/>
                <p:nvPr/>
              </p:nvSpPr>
              <p:spPr>
                <a:xfrm>
                  <a:off x="1525293" y="3558047"/>
                  <a:ext cx="959569" cy="959093"/>
                </a:xfrm>
                <a:prstGeom prst="ellipse">
                  <a:avLst/>
                </a:prstGeom>
                <a:solidFill>
                  <a:srgbClr val="1F9CF0">
                    <a:alpha val="57000"/>
                  </a:srgbClr>
                </a:solidFill>
                <a:ln>
                  <a:no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277" name="Oval 276">
                  <a:extLst>
                    <a:ext uri="{FF2B5EF4-FFF2-40B4-BE49-F238E27FC236}">
                      <a16:creationId xmlns:a16="http://schemas.microsoft.com/office/drawing/2014/main" id="{A225A2A4-E10C-42F4-857E-B51ED81B7A67}"/>
                    </a:ext>
                    <a:ext uri="{C183D7F6-B498-43B3-948B-1728B52AA6E4}">
                      <adec:decorative xmlns:adec="http://schemas.microsoft.com/office/drawing/2017/decorative" val="1"/>
                    </a:ext>
                  </a:extLst>
                </p:cNvPr>
                <p:cNvSpPr/>
                <p:nvPr/>
              </p:nvSpPr>
              <p:spPr>
                <a:xfrm>
                  <a:off x="1687497" y="3721424"/>
                  <a:ext cx="635959" cy="635642"/>
                </a:xfrm>
                <a:prstGeom prst="ellipse">
                  <a:avLst/>
                </a:prstGeom>
                <a:solidFill>
                  <a:srgbClr val="1F9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grpSp>
        <p:sp>
          <p:nvSpPr>
            <p:cNvPr id="315" name="Freeform 17" descr="Icon of a group of people">
              <a:extLst>
                <a:ext uri="{FF2B5EF4-FFF2-40B4-BE49-F238E27FC236}">
                  <a16:creationId xmlns:a16="http://schemas.microsoft.com/office/drawing/2014/main" id="{CF3A4A2E-C7C5-4AFC-A846-A9D25D4106CE}"/>
                </a:ext>
              </a:extLst>
            </p:cNvPr>
            <p:cNvSpPr>
              <a:spLocks noEditPoints="1"/>
            </p:cNvSpPr>
            <p:nvPr/>
          </p:nvSpPr>
          <p:spPr bwMode="auto">
            <a:xfrm>
              <a:off x="1762063" y="3830795"/>
              <a:ext cx="479744" cy="413596"/>
            </a:xfrm>
            <a:custGeom>
              <a:avLst/>
              <a:gdLst>
                <a:gd name="T0" fmla="*/ 366 w 1143"/>
                <a:gd name="T1" fmla="*/ 867 h 986"/>
                <a:gd name="T2" fmla="*/ 350 w 1143"/>
                <a:gd name="T3" fmla="*/ 806 h 986"/>
                <a:gd name="T4" fmla="*/ 61 w 1143"/>
                <a:gd name="T5" fmla="*/ 785 h 986"/>
                <a:gd name="T6" fmla="*/ 0 w 1143"/>
                <a:gd name="T7" fmla="*/ 532 h 986"/>
                <a:gd name="T8" fmla="*/ 189 w 1143"/>
                <a:gd name="T9" fmla="*/ 413 h 986"/>
                <a:gd name="T10" fmla="*/ 368 w 1143"/>
                <a:gd name="T11" fmla="*/ 405 h 986"/>
                <a:gd name="T12" fmla="*/ 536 w 1143"/>
                <a:gd name="T13" fmla="*/ 367 h 986"/>
                <a:gd name="T14" fmla="*/ 903 w 1143"/>
                <a:gd name="T15" fmla="*/ 413 h 986"/>
                <a:gd name="T16" fmla="*/ 1137 w 1143"/>
                <a:gd name="T17" fmla="*/ 535 h 986"/>
                <a:gd name="T18" fmla="*/ 933 w 1143"/>
                <a:gd name="T19" fmla="*/ 874 h 986"/>
                <a:gd name="T20" fmla="*/ 766 w 1143"/>
                <a:gd name="T21" fmla="*/ 864 h 986"/>
                <a:gd name="T22" fmla="*/ 557 w 1143"/>
                <a:gd name="T23" fmla="*/ 986 h 986"/>
                <a:gd name="T24" fmla="*/ 574 w 1143"/>
                <a:gd name="T25" fmla="*/ 949 h 986"/>
                <a:gd name="T26" fmla="*/ 815 w 1143"/>
                <a:gd name="T27" fmla="*/ 516 h 986"/>
                <a:gd name="T28" fmla="*/ 537 w 1143"/>
                <a:gd name="T29" fmla="*/ 403 h 986"/>
                <a:gd name="T30" fmla="*/ 319 w 1143"/>
                <a:gd name="T31" fmla="*/ 519 h 986"/>
                <a:gd name="T32" fmla="*/ 807 w 1143"/>
                <a:gd name="T33" fmla="*/ 771 h 986"/>
                <a:gd name="T34" fmla="*/ 1041 w 1143"/>
                <a:gd name="T35" fmla="*/ 772 h 986"/>
                <a:gd name="T36" fmla="*/ 1097 w 1143"/>
                <a:gd name="T37" fmla="*/ 501 h 986"/>
                <a:gd name="T38" fmla="*/ 838 w 1143"/>
                <a:gd name="T39" fmla="*/ 458 h 986"/>
                <a:gd name="T40" fmla="*/ 798 w 1143"/>
                <a:gd name="T41" fmla="*/ 733 h 986"/>
                <a:gd name="T42" fmla="*/ 94 w 1143"/>
                <a:gd name="T43" fmla="*/ 771 h 986"/>
                <a:gd name="T44" fmla="*/ 327 w 1143"/>
                <a:gd name="T45" fmla="*/ 772 h 986"/>
                <a:gd name="T46" fmla="*/ 336 w 1143"/>
                <a:gd name="T47" fmla="*/ 744 h 986"/>
                <a:gd name="T48" fmla="*/ 283 w 1143"/>
                <a:gd name="T49" fmla="*/ 520 h 986"/>
                <a:gd name="T50" fmla="*/ 191 w 1143"/>
                <a:gd name="T51" fmla="*/ 449 h 986"/>
                <a:gd name="T52" fmla="*/ 94 w 1143"/>
                <a:gd name="T53" fmla="*/ 771 h 986"/>
                <a:gd name="T54" fmla="*/ 793 w 1143"/>
                <a:gd name="T55" fmla="*/ 262 h 986"/>
                <a:gd name="T56" fmla="*/ 1058 w 1143"/>
                <a:gd name="T57" fmla="*/ 262 h 986"/>
                <a:gd name="T58" fmla="*/ 926 w 1143"/>
                <a:gd name="T59" fmla="*/ 165 h 986"/>
                <a:gd name="T60" fmla="*/ 926 w 1143"/>
                <a:gd name="T61" fmla="*/ 359 h 986"/>
                <a:gd name="T62" fmla="*/ 926 w 1143"/>
                <a:gd name="T63" fmla="*/ 165 h 986"/>
                <a:gd name="T64" fmla="*/ 80 w 1143"/>
                <a:gd name="T65" fmla="*/ 262 h 986"/>
                <a:gd name="T66" fmla="*/ 345 w 1143"/>
                <a:gd name="T67" fmla="*/ 262 h 986"/>
                <a:gd name="T68" fmla="*/ 212 w 1143"/>
                <a:gd name="T69" fmla="*/ 165 h 986"/>
                <a:gd name="T70" fmla="*/ 212 w 1143"/>
                <a:gd name="T71" fmla="*/ 359 h 986"/>
                <a:gd name="T72" fmla="*/ 212 w 1143"/>
                <a:gd name="T73" fmla="*/ 165 h 986"/>
                <a:gd name="T74" fmla="*/ 392 w 1143"/>
                <a:gd name="T75" fmla="*/ 175 h 986"/>
                <a:gd name="T76" fmla="*/ 742 w 1143"/>
                <a:gd name="T77" fmla="*/ 175 h 986"/>
                <a:gd name="T78" fmla="*/ 567 w 1143"/>
                <a:gd name="T79" fmla="*/ 36 h 986"/>
                <a:gd name="T80" fmla="*/ 567 w 1143"/>
                <a:gd name="T81" fmla="*/ 315 h 986"/>
                <a:gd name="T82" fmla="*/ 567 w 1143"/>
                <a:gd name="T83" fmla="*/ 3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986">
                  <a:moveTo>
                    <a:pt x="557" y="986"/>
                  </a:moveTo>
                  <a:cubicBezTo>
                    <a:pt x="473" y="986"/>
                    <a:pt x="404" y="943"/>
                    <a:pt x="366" y="867"/>
                  </a:cubicBezTo>
                  <a:cubicBezTo>
                    <a:pt x="365" y="865"/>
                    <a:pt x="365" y="865"/>
                    <a:pt x="365" y="865"/>
                  </a:cubicBezTo>
                  <a:cubicBezTo>
                    <a:pt x="350" y="806"/>
                    <a:pt x="350" y="806"/>
                    <a:pt x="350" y="806"/>
                  </a:cubicBezTo>
                  <a:cubicBezTo>
                    <a:pt x="326" y="842"/>
                    <a:pt x="274" y="870"/>
                    <a:pt x="220" y="874"/>
                  </a:cubicBezTo>
                  <a:cubicBezTo>
                    <a:pt x="150" y="880"/>
                    <a:pt x="92" y="847"/>
                    <a:pt x="61" y="785"/>
                  </a:cubicBezTo>
                  <a:cubicBezTo>
                    <a:pt x="60" y="783"/>
                    <a:pt x="60" y="783"/>
                    <a:pt x="60" y="783"/>
                  </a:cubicBezTo>
                  <a:cubicBezTo>
                    <a:pt x="0" y="532"/>
                    <a:pt x="0" y="532"/>
                    <a:pt x="0" y="532"/>
                  </a:cubicBezTo>
                  <a:cubicBezTo>
                    <a:pt x="0" y="529"/>
                    <a:pt x="0" y="529"/>
                    <a:pt x="0" y="529"/>
                  </a:cubicBezTo>
                  <a:cubicBezTo>
                    <a:pt x="4" y="461"/>
                    <a:pt x="75" y="417"/>
                    <a:pt x="189" y="413"/>
                  </a:cubicBezTo>
                  <a:cubicBezTo>
                    <a:pt x="237" y="411"/>
                    <a:pt x="288" y="418"/>
                    <a:pt x="329" y="430"/>
                  </a:cubicBezTo>
                  <a:cubicBezTo>
                    <a:pt x="340" y="421"/>
                    <a:pt x="353" y="412"/>
                    <a:pt x="368" y="405"/>
                  </a:cubicBezTo>
                  <a:cubicBezTo>
                    <a:pt x="411" y="383"/>
                    <a:pt x="469" y="370"/>
                    <a:pt x="536" y="367"/>
                  </a:cubicBezTo>
                  <a:cubicBezTo>
                    <a:pt x="536" y="367"/>
                    <a:pt x="536" y="367"/>
                    <a:pt x="536" y="367"/>
                  </a:cubicBezTo>
                  <a:cubicBezTo>
                    <a:pt x="631" y="364"/>
                    <a:pt x="747" y="384"/>
                    <a:pt x="808" y="429"/>
                  </a:cubicBezTo>
                  <a:cubicBezTo>
                    <a:pt x="836" y="420"/>
                    <a:pt x="868" y="415"/>
                    <a:pt x="903" y="413"/>
                  </a:cubicBezTo>
                  <a:cubicBezTo>
                    <a:pt x="983" y="410"/>
                    <a:pt x="1087" y="429"/>
                    <a:pt x="1125" y="478"/>
                  </a:cubicBezTo>
                  <a:cubicBezTo>
                    <a:pt x="1138" y="496"/>
                    <a:pt x="1143" y="515"/>
                    <a:pt x="1137" y="535"/>
                  </a:cubicBezTo>
                  <a:cubicBezTo>
                    <a:pt x="1075" y="782"/>
                    <a:pt x="1075" y="782"/>
                    <a:pt x="1075" y="782"/>
                  </a:cubicBezTo>
                  <a:cubicBezTo>
                    <a:pt x="1060" y="830"/>
                    <a:pt x="999" y="869"/>
                    <a:pt x="933" y="874"/>
                  </a:cubicBezTo>
                  <a:cubicBezTo>
                    <a:pt x="869" y="879"/>
                    <a:pt x="814" y="852"/>
                    <a:pt x="782" y="799"/>
                  </a:cubicBezTo>
                  <a:cubicBezTo>
                    <a:pt x="766" y="864"/>
                    <a:pt x="766" y="864"/>
                    <a:pt x="766" y="864"/>
                  </a:cubicBezTo>
                  <a:cubicBezTo>
                    <a:pt x="745" y="926"/>
                    <a:pt x="664" y="978"/>
                    <a:pt x="577" y="985"/>
                  </a:cubicBezTo>
                  <a:cubicBezTo>
                    <a:pt x="570" y="986"/>
                    <a:pt x="564" y="986"/>
                    <a:pt x="557" y="986"/>
                  </a:cubicBezTo>
                  <a:close/>
                  <a:moveTo>
                    <a:pt x="399" y="852"/>
                  </a:moveTo>
                  <a:cubicBezTo>
                    <a:pt x="446" y="945"/>
                    <a:pt x="529" y="953"/>
                    <a:pt x="574" y="949"/>
                  </a:cubicBezTo>
                  <a:cubicBezTo>
                    <a:pt x="646" y="944"/>
                    <a:pt x="715" y="902"/>
                    <a:pt x="731" y="854"/>
                  </a:cubicBezTo>
                  <a:cubicBezTo>
                    <a:pt x="815" y="516"/>
                    <a:pt x="815" y="516"/>
                    <a:pt x="815" y="516"/>
                  </a:cubicBezTo>
                  <a:cubicBezTo>
                    <a:pt x="819" y="502"/>
                    <a:pt x="816" y="489"/>
                    <a:pt x="806" y="476"/>
                  </a:cubicBezTo>
                  <a:cubicBezTo>
                    <a:pt x="771" y="430"/>
                    <a:pt x="655" y="399"/>
                    <a:pt x="537" y="403"/>
                  </a:cubicBezTo>
                  <a:cubicBezTo>
                    <a:pt x="537" y="403"/>
                    <a:pt x="537" y="403"/>
                    <a:pt x="537" y="403"/>
                  </a:cubicBezTo>
                  <a:cubicBezTo>
                    <a:pt x="436" y="407"/>
                    <a:pt x="326" y="439"/>
                    <a:pt x="319" y="519"/>
                  </a:cubicBezTo>
                  <a:lnTo>
                    <a:pt x="399" y="852"/>
                  </a:lnTo>
                  <a:close/>
                  <a:moveTo>
                    <a:pt x="807" y="771"/>
                  </a:moveTo>
                  <a:cubicBezTo>
                    <a:pt x="841" y="835"/>
                    <a:pt x="899" y="841"/>
                    <a:pt x="930" y="838"/>
                  </a:cubicBezTo>
                  <a:cubicBezTo>
                    <a:pt x="981" y="834"/>
                    <a:pt x="1030" y="805"/>
                    <a:pt x="1041" y="772"/>
                  </a:cubicBezTo>
                  <a:cubicBezTo>
                    <a:pt x="1102" y="525"/>
                    <a:pt x="1102" y="525"/>
                    <a:pt x="1102" y="525"/>
                  </a:cubicBezTo>
                  <a:cubicBezTo>
                    <a:pt x="1105" y="516"/>
                    <a:pt x="1103" y="509"/>
                    <a:pt x="1097" y="501"/>
                  </a:cubicBezTo>
                  <a:cubicBezTo>
                    <a:pt x="1072" y="469"/>
                    <a:pt x="987" y="446"/>
                    <a:pt x="904" y="449"/>
                  </a:cubicBezTo>
                  <a:cubicBezTo>
                    <a:pt x="880" y="450"/>
                    <a:pt x="858" y="453"/>
                    <a:pt x="838" y="458"/>
                  </a:cubicBezTo>
                  <a:cubicBezTo>
                    <a:pt x="852" y="479"/>
                    <a:pt x="856" y="502"/>
                    <a:pt x="850" y="526"/>
                  </a:cubicBezTo>
                  <a:cubicBezTo>
                    <a:pt x="798" y="733"/>
                    <a:pt x="798" y="733"/>
                    <a:pt x="798" y="733"/>
                  </a:cubicBezTo>
                  <a:lnTo>
                    <a:pt x="807" y="771"/>
                  </a:lnTo>
                  <a:close/>
                  <a:moveTo>
                    <a:pt x="94" y="771"/>
                  </a:moveTo>
                  <a:cubicBezTo>
                    <a:pt x="127" y="835"/>
                    <a:pt x="185" y="841"/>
                    <a:pt x="217" y="838"/>
                  </a:cubicBezTo>
                  <a:cubicBezTo>
                    <a:pt x="268" y="834"/>
                    <a:pt x="316" y="805"/>
                    <a:pt x="327" y="772"/>
                  </a:cubicBezTo>
                  <a:cubicBezTo>
                    <a:pt x="335" y="743"/>
                    <a:pt x="335" y="743"/>
                    <a:pt x="335" y="743"/>
                  </a:cubicBezTo>
                  <a:cubicBezTo>
                    <a:pt x="336" y="744"/>
                    <a:pt x="336" y="744"/>
                    <a:pt x="336" y="744"/>
                  </a:cubicBezTo>
                  <a:cubicBezTo>
                    <a:pt x="282" y="522"/>
                    <a:pt x="282" y="522"/>
                    <a:pt x="282" y="522"/>
                  </a:cubicBezTo>
                  <a:cubicBezTo>
                    <a:pt x="283" y="520"/>
                    <a:pt x="283" y="520"/>
                    <a:pt x="283" y="520"/>
                  </a:cubicBezTo>
                  <a:cubicBezTo>
                    <a:pt x="284" y="498"/>
                    <a:pt x="291" y="478"/>
                    <a:pt x="302" y="460"/>
                  </a:cubicBezTo>
                  <a:cubicBezTo>
                    <a:pt x="268" y="452"/>
                    <a:pt x="229" y="448"/>
                    <a:pt x="191" y="449"/>
                  </a:cubicBezTo>
                  <a:cubicBezTo>
                    <a:pt x="119" y="452"/>
                    <a:pt x="41" y="474"/>
                    <a:pt x="36" y="529"/>
                  </a:cubicBezTo>
                  <a:lnTo>
                    <a:pt x="94" y="771"/>
                  </a:lnTo>
                  <a:close/>
                  <a:moveTo>
                    <a:pt x="926" y="395"/>
                  </a:moveTo>
                  <a:cubicBezTo>
                    <a:pt x="853" y="395"/>
                    <a:pt x="793" y="335"/>
                    <a:pt x="793" y="262"/>
                  </a:cubicBezTo>
                  <a:cubicBezTo>
                    <a:pt x="793" y="189"/>
                    <a:pt x="853" y="129"/>
                    <a:pt x="926" y="129"/>
                  </a:cubicBezTo>
                  <a:cubicBezTo>
                    <a:pt x="999" y="129"/>
                    <a:pt x="1058" y="189"/>
                    <a:pt x="1058" y="262"/>
                  </a:cubicBezTo>
                  <a:cubicBezTo>
                    <a:pt x="1058" y="335"/>
                    <a:pt x="999" y="395"/>
                    <a:pt x="926" y="395"/>
                  </a:cubicBezTo>
                  <a:close/>
                  <a:moveTo>
                    <a:pt x="926" y="165"/>
                  </a:moveTo>
                  <a:cubicBezTo>
                    <a:pt x="873" y="165"/>
                    <a:pt x="829" y="209"/>
                    <a:pt x="829" y="262"/>
                  </a:cubicBezTo>
                  <a:cubicBezTo>
                    <a:pt x="829" y="315"/>
                    <a:pt x="873" y="359"/>
                    <a:pt x="926" y="359"/>
                  </a:cubicBezTo>
                  <a:cubicBezTo>
                    <a:pt x="979" y="359"/>
                    <a:pt x="1022" y="315"/>
                    <a:pt x="1022" y="262"/>
                  </a:cubicBezTo>
                  <a:cubicBezTo>
                    <a:pt x="1022" y="209"/>
                    <a:pt x="979" y="165"/>
                    <a:pt x="926" y="165"/>
                  </a:cubicBezTo>
                  <a:close/>
                  <a:moveTo>
                    <a:pt x="212" y="395"/>
                  </a:moveTo>
                  <a:cubicBezTo>
                    <a:pt x="139" y="395"/>
                    <a:pt x="80" y="335"/>
                    <a:pt x="80" y="262"/>
                  </a:cubicBezTo>
                  <a:cubicBezTo>
                    <a:pt x="80" y="189"/>
                    <a:pt x="139" y="129"/>
                    <a:pt x="212" y="129"/>
                  </a:cubicBezTo>
                  <a:cubicBezTo>
                    <a:pt x="285" y="129"/>
                    <a:pt x="345" y="189"/>
                    <a:pt x="345" y="262"/>
                  </a:cubicBezTo>
                  <a:cubicBezTo>
                    <a:pt x="345" y="335"/>
                    <a:pt x="285" y="395"/>
                    <a:pt x="212" y="395"/>
                  </a:cubicBezTo>
                  <a:close/>
                  <a:moveTo>
                    <a:pt x="212" y="165"/>
                  </a:moveTo>
                  <a:cubicBezTo>
                    <a:pt x="159" y="165"/>
                    <a:pt x="116" y="209"/>
                    <a:pt x="116" y="262"/>
                  </a:cubicBezTo>
                  <a:cubicBezTo>
                    <a:pt x="116" y="315"/>
                    <a:pt x="159" y="359"/>
                    <a:pt x="212" y="359"/>
                  </a:cubicBezTo>
                  <a:cubicBezTo>
                    <a:pt x="265" y="359"/>
                    <a:pt x="309" y="315"/>
                    <a:pt x="309" y="262"/>
                  </a:cubicBezTo>
                  <a:cubicBezTo>
                    <a:pt x="309" y="209"/>
                    <a:pt x="265" y="165"/>
                    <a:pt x="212" y="165"/>
                  </a:cubicBezTo>
                  <a:close/>
                  <a:moveTo>
                    <a:pt x="567" y="351"/>
                  </a:moveTo>
                  <a:cubicBezTo>
                    <a:pt x="471" y="351"/>
                    <a:pt x="392" y="272"/>
                    <a:pt x="392" y="175"/>
                  </a:cubicBezTo>
                  <a:cubicBezTo>
                    <a:pt x="392" y="79"/>
                    <a:pt x="471" y="0"/>
                    <a:pt x="567" y="0"/>
                  </a:cubicBezTo>
                  <a:cubicBezTo>
                    <a:pt x="663" y="0"/>
                    <a:pt x="742" y="79"/>
                    <a:pt x="742" y="175"/>
                  </a:cubicBezTo>
                  <a:cubicBezTo>
                    <a:pt x="742" y="272"/>
                    <a:pt x="663" y="351"/>
                    <a:pt x="567" y="351"/>
                  </a:cubicBezTo>
                  <a:close/>
                  <a:moveTo>
                    <a:pt x="567" y="36"/>
                  </a:moveTo>
                  <a:cubicBezTo>
                    <a:pt x="490" y="36"/>
                    <a:pt x="428" y="99"/>
                    <a:pt x="428" y="175"/>
                  </a:cubicBezTo>
                  <a:cubicBezTo>
                    <a:pt x="428" y="252"/>
                    <a:pt x="490" y="315"/>
                    <a:pt x="567" y="315"/>
                  </a:cubicBezTo>
                  <a:cubicBezTo>
                    <a:pt x="643" y="315"/>
                    <a:pt x="706" y="252"/>
                    <a:pt x="706" y="175"/>
                  </a:cubicBezTo>
                  <a:cubicBezTo>
                    <a:pt x="706" y="99"/>
                    <a:pt x="643" y="36"/>
                    <a:pt x="567" y="36"/>
                  </a:cubicBezTo>
                  <a:close/>
                </a:path>
              </a:pathLst>
            </a:custGeom>
            <a:solidFill>
              <a:schemeClr val="bg1"/>
            </a:solidFill>
            <a:ln>
              <a:noFill/>
            </a:ln>
          </p:spPr>
          <p:txBody>
            <a:bodyPr vert="horz" wrap="square" lIns="57150" tIns="28575" rIns="57150" bIns="28575"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sp>
          <p:nvSpPr>
            <p:cNvPr id="334" name="TextBox 333">
              <a:extLst>
                <a:ext uri="{FF2B5EF4-FFF2-40B4-BE49-F238E27FC236}">
                  <a16:creationId xmlns:a16="http://schemas.microsoft.com/office/drawing/2014/main" id="{D979380C-A857-4515-8177-3C2B2D2344CF}"/>
                </a:ext>
              </a:extLst>
            </p:cNvPr>
            <p:cNvSpPr txBox="1"/>
            <p:nvPr/>
          </p:nvSpPr>
          <p:spPr>
            <a:xfrm>
              <a:off x="733393" y="4882779"/>
              <a:ext cx="2609783" cy="1015663"/>
            </a:xfrm>
            <a:prstGeom prst="rect">
              <a:avLst/>
            </a:prstGeom>
            <a:noFill/>
          </p:spPr>
          <p:txBody>
            <a:bodyPr wrap="square" rtlCol="0">
              <a:sp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Bridge </a:t>
              </a:r>
              <a:r>
                <a:rPr kumimoji="0" lang="en-US" sz="2000" b="0"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the divide across </a:t>
              </a: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DevOps</a:t>
              </a:r>
              <a:r>
                <a:rPr kumimoji="0" lang="en-US" sz="2000" b="0"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 and </a:t>
              </a: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SecOps teams</a:t>
              </a:r>
            </a:p>
          </p:txBody>
        </p:sp>
      </p:grpSp>
      <p:grpSp>
        <p:nvGrpSpPr>
          <p:cNvPr id="343" name="Group 342">
            <a:extLst>
              <a:ext uri="{FF2B5EF4-FFF2-40B4-BE49-F238E27FC236}">
                <a16:creationId xmlns:a16="http://schemas.microsoft.com/office/drawing/2014/main" id="{F3150C03-EC27-4D0D-9FDD-8A72A051C9A9}"/>
              </a:ext>
              <a:ext uri="{C183D7F6-B498-43B3-948B-1728B52AA6E4}">
                <adec:decorative xmlns:adec="http://schemas.microsoft.com/office/drawing/2017/decorative" val="1"/>
              </a:ext>
            </a:extLst>
          </p:cNvPr>
          <p:cNvGrpSpPr/>
          <p:nvPr/>
        </p:nvGrpSpPr>
        <p:grpSpPr>
          <a:xfrm>
            <a:off x="19737" y="3409283"/>
            <a:ext cx="4057716" cy="2840547"/>
            <a:chOff x="4067142" y="3409283"/>
            <a:chExt cx="4057716" cy="2840547"/>
          </a:xfrm>
        </p:grpSpPr>
        <p:sp>
          <p:nvSpPr>
            <p:cNvPr id="344" name="Rectangle 343">
              <a:extLst>
                <a:ext uri="{FF2B5EF4-FFF2-40B4-BE49-F238E27FC236}">
                  <a16:creationId xmlns:a16="http://schemas.microsoft.com/office/drawing/2014/main" id="{C5F630C5-6BC4-4E22-8C8F-CF8DDA24B785}"/>
                </a:ext>
                <a:ext uri="{C183D7F6-B498-43B3-948B-1728B52AA6E4}">
                  <adec:decorative xmlns:adec="http://schemas.microsoft.com/office/drawing/2017/decorative" val="1"/>
                </a:ext>
              </a:extLst>
            </p:cNvPr>
            <p:cNvSpPr/>
            <p:nvPr/>
          </p:nvSpPr>
          <p:spPr>
            <a:xfrm>
              <a:off x="4067142" y="4037371"/>
              <a:ext cx="4057716" cy="2212459"/>
            </a:xfrm>
            <a:prstGeom prst="rect">
              <a:avLst/>
            </a:prstGeom>
            <a:gradFill>
              <a:gsLst>
                <a:gs pos="2000">
                  <a:schemeClr val="accent2">
                    <a:alpha val="20000"/>
                  </a:schemeClr>
                </a:gs>
                <a:gs pos="100000">
                  <a:schemeClr val="accent2">
                    <a:alpha val="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345" name="Group 344">
              <a:extLst>
                <a:ext uri="{FF2B5EF4-FFF2-40B4-BE49-F238E27FC236}">
                  <a16:creationId xmlns:a16="http://schemas.microsoft.com/office/drawing/2014/main" id="{3C99EFD4-3E0D-46A1-914F-5F9AD5A5CE5F}"/>
                </a:ext>
                <a:ext uri="{C183D7F6-B498-43B3-948B-1728B52AA6E4}">
                  <adec:decorative xmlns:adec="http://schemas.microsoft.com/office/drawing/2017/decorative" val="1"/>
                </a:ext>
              </a:extLst>
            </p:cNvPr>
            <p:cNvGrpSpPr/>
            <p:nvPr/>
          </p:nvGrpSpPr>
          <p:grpSpPr>
            <a:xfrm>
              <a:off x="5460180" y="3409283"/>
              <a:ext cx="1251585" cy="1251585"/>
              <a:chOff x="5460180" y="3409283"/>
              <a:chExt cx="1251585" cy="1251585"/>
            </a:xfrm>
          </p:grpSpPr>
          <p:sp>
            <p:nvSpPr>
              <p:cNvPr id="346" name="Oval 345">
                <a:extLst>
                  <a:ext uri="{FF2B5EF4-FFF2-40B4-BE49-F238E27FC236}">
                    <a16:creationId xmlns:a16="http://schemas.microsoft.com/office/drawing/2014/main" id="{D168EF05-3AA0-487C-89DE-CFA4723FA5F3}"/>
                  </a:ext>
                  <a:ext uri="{C183D7F6-B498-43B3-948B-1728B52AA6E4}">
                    <adec:decorative xmlns:adec="http://schemas.microsoft.com/office/drawing/2017/decorative" val="1"/>
                  </a:ext>
                </a:extLst>
              </p:cNvPr>
              <p:cNvSpPr/>
              <p:nvPr/>
            </p:nvSpPr>
            <p:spPr>
              <a:xfrm>
                <a:off x="5460180" y="3409283"/>
                <a:ext cx="1251585" cy="1251585"/>
              </a:xfrm>
              <a:prstGeom prst="ellipse">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47" name="Oval 346">
                <a:extLst>
                  <a:ext uri="{FF2B5EF4-FFF2-40B4-BE49-F238E27FC236}">
                    <a16:creationId xmlns:a16="http://schemas.microsoft.com/office/drawing/2014/main" id="{879A11D0-6A20-4E8C-A8D5-AACCC795AD54}"/>
                  </a:ext>
                  <a:ext uri="{C183D7F6-B498-43B3-948B-1728B52AA6E4}">
                    <adec:decorative xmlns:adec="http://schemas.microsoft.com/office/drawing/2017/decorative" val="1"/>
                  </a:ext>
                </a:extLst>
              </p:cNvPr>
              <p:cNvSpPr/>
              <p:nvPr/>
            </p:nvSpPr>
            <p:spPr>
              <a:xfrm>
                <a:off x="5609567" y="3555529"/>
                <a:ext cx="959093" cy="959093"/>
              </a:xfrm>
              <a:prstGeom prst="ellipse">
                <a:avLst/>
              </a:prstGeom>
              <a:solidFill>
                <a:schemeClr val="accent2">
                  <a:alpha val="57000"/>
                </a:schemeClr>
              </a:solidFill>
              <a:ln>
                <a:no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48" name="Oval 347">
                <a:extLst>
                  <a:ext uri="{FF2B5EF4-FFF2-40B4-BE49-F238E27FC236}">
                    <a16:creationId xmlns:a16="http://schemas.microsoft.com/office/drawing/2014/main" id="{C641E6AD-1D38-4E5A-8D78-61B5492E3CCE}"/>
                  </a:ext>
                  <a:ext uri="{C183D7F6-B498-43B3-948B-1728B52AA6E4}">
                    <adec:decorative xmlns:adec="http://schemas.microsoft.com/office/drawing/2017/decorative" val="1"/>
                  </a:ext>
                </a:extLst>
              </p:cNvPr>
              <p:cNvSpPr/>
              <p:nvPr/>
            </p:nvSpPr>
            <p:spPr>
              <a:xfrm>
                <a:off x="5771691" y="3718906"/>
                <a:ext cx="635642" cy="6356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grpSp>
      <p:grpSp>
        <p:nvGrpSpPr>
          <p:cNvPr id="15" name="Group 14" descr="Icon of a shield">
            <a:extLst>
              <a:ext uri="{FF2B5EF4-FFF2-40B4-BE49-F238E27FC236}">
                <a16:creationId xmlns:a16="http://schemas.microsoft.com/office/drawing/2014/main" id="{13DCDA6F-7517-4E82-97A3-145DBE83A02F}"/>
              </a:ext>
            </a:extLst>
          </p:cNvPr>
          <p:cNvGrpSpPr/>
          <p:nvPr/>
        </p:nvGrpSpPr>
        <p:grpSpPr>
          <a:xfrm>
            <a:off x="1856391" y="3816878"/>
            <a:ext cx="364354" cy="436396"/>
            <a:chOff x="5903796" y="3816878"/>
            <a:chExt cx="364354" cy="436396"/>
          </a:xfrm>
        </p:grpSpPr>
        <p:sp>
          <p:nvSpPr>
            <p:cNvPr id="372" name="Freeform 68">
              <a:extLst>
                <a:ext uri="{FF2B5EF4-FFF2-40B4-BE49-F238E27FC236}">
                  <a16:creationId xmlns:a16="http://schemas.microsoft.com/office/drawing/2014/main" id="{9F44DCEC-DCBF-4DDA-B663-E670298F8FE8}"/>
                </a:ext>
                <a:ext uri="{C183D7F6-B498-43B3-948B-1728B52AA6E4}">
                  <adec:decorative xmlns:adec="http://schemas.microsoft.com/office/drawing/2017/decorative" val="1"/>
                </a:ext>
              </a:extLst>
            </p:cNvPr>
            <p:cNvSpPr>
              <a:spLocks/>
            </p:cNvSpPr>
            <p:nvPr/>
          </p:nvSpPr>
          <p:spPr bwMode="auto">
            <a:xfrm>
              <a:off x="5903796" y="3816878"/>
              <a:ext cx="364354" cy="436396"/>
            </a:xfrm>
            <a:custGeom>
              <a:avLst/>
              <a:gdLst>
                <a:gd name="connsiteX0" fmla="*/ 1400249 w 2801938"/>
                <a:gd name="connsiteY0" fmla="*/ 128588 h 3355975"/>
                <a:gd name="connsiteX1" fmla="*/ 122238 w 2801938"/>
                <a:gd name="connsiteY1" fmla="*/ 517588 h 3355975"/>
                <a:gd name="connsiteX2" fmla="*/ 122238 w 2801938"/>
                <a:gd name="connsiteY2" fmla="*/ 1487049 h 3355975"/>
                <a:gd name="connsiteX3" fmla="*/ 1400249 w 2801938"/>
                <a:gd name="connsiteY3" fmla="*/ 3216276 h 3355975"/>
                <a:gd name="connsiteX4" fmla="*/ 2681288 w 2801938"/>
                <a:gd name="connsiteY4" fmla="*/ 1487049 h 3355975"/>
                <a:gd name="connsiteX5" fmla="*/ 2681288 w 2801938"/>
                <a:gd name="connsiteY5" fmla="*/ 517588 h 3355975"/>
                <a:gd name="connsiteX6" fmla="*/ 1400249 w 2801938"/>
                <a:gd name="connsiteY6" fmla="*/ 128588 h 3355975"/>
                <a:gd name="connsiteX7" fmla="*/ 1399455 w 2801938"/>
                <a:gd name="connsiteY7" fmla="*/ 0 h 3355975"/>
                <a:gd name="connsiteX8" fmla="*/ 2801938 w 2801938"/>
                <a:gd name="connsiteY8" fmla="*/ 425577 h 3355975"/>
                <a:gd name="connsiteX9" fmla="*/ 2801938 w 2801938"/>
                <a:gd name="connsiteY9" fmla="*/ 1486478 h 3355975"/>
                <a:gd name="connsiteX10" fmla="*/ 2417240 w 2801938"/>
                <a:gd name="connsiteY10" fmla="*/ 2510902 h 3355975"/>
                <a:gd name="connsiteX11" fmla="*/ 1429746 w 2801938"/>
                <a:gd name="connsiteY11" fmla="*/ 3340776 h 3355975"/>
                <a:gd name="connsiteX12" fmla="*/ 1399455 w 2801938"/>
                <a:gd name="connsiteY12" fmla="*/ 3355975 h 3355975"/>
                <a:gd name="connsiteX13" fmla="*/ 1372193 w 2801938"/>
                <a:gd name="connsiteY13" fmla="*/ 3340776 h 3355975"/>
                <a:gd name="connsiteX14" fmla="*/ 384699 w 2801938"/>
                <a:gd name="connsiteY14" fmla="*/ 2510902 h 3355975"/>
                <a:gd name="connsiteX15" fmla="*/ 0 w 2801938"/>
                <a:gd name="connsiteY15" fmla="*/ 1486478 h 3355975"/>
                <a:gd name="connsiteX16" fmla="*/ 0 w 2801938"/>
                <a:gd name="connsiteY16" fmla="*/ 425577 h 3355975"/>
                <a:gd name="connsiteX17" fmla="*/ 1399455 w 2801938"/>
                <a:gd name="connsiteY17" fmla="*/ 0 h 335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1938" h="3355975">
                  <a:moveTo>
                    <a:pt x="1400249" y="128588"/>
                  </a:moveTo>
                  <a:lnTo>
                    <a:pt x="122238" y="517588"/>
                  </a:lnTo>
                  <a:cubicBezTo>
                    <a:pt x="122238" y="1487049"/>
                    <a:pt x="122238" y="1487049"/>
                    <a:pt x="122238" y="1487049"/>
                  </a:cubicBezTo>
                  <a:cubicBezTo>
                    <a:pt x="122238" y="2107018"/>
                    <a:pt x="634048" y="2799924"/>
                    <a:pt x="1400249" y="3216276"/>
                  </a:cubicBezTo>
                  <a:cubicBezTo>
                    <a:pt x="2166450" y="2799924"/>
                    <a:pt x="2681288" y="2107018"/>
                    <a:pt x="2681288" y="1487049"/>
                  </a:cubicBezTo>
                  <a:cubicBezTo>
                    <a:pt x="2681288" y="517588"/>
                    <a:pt x="2681288" y="517588"/>
                    <a:pt x="2681288" y="517588"/>
                  </a:cubicBezTo>
                  <a:cubicBezTo>
                    <a:pt x="1400249" y="128588"/>
                    <a:pt x="1400249" y="128588"/>
                    <a:pt x="1400249" y="128588"/>
                  </a:cubicBezTo>
                  <a:close/>
                  <a:moveTo>
                    <a:pt x="1399455" y="0"/>
                  </a:moveTo>
                  <a:cubicBezTo>
                    <a:pt x="2801938" y="425577"/>
                    <a:pt x="2801938" y="425577"/>
                    <a:pt x="2801938" y="425577"/>
                  </a:cubicBezTo>
                  <a:cubicBezTo>
                    <a:pt x="2801938" y="1486478"/>
                    <a:pt x="2801938" y="1486478"/>
                    <a:pt x="2801938" y="1486478"/>
                  </a:cubicBezTo>
                  <a:cubicBezTo>
                    <a:pt x="2801938" y="1820860"/>
                    <a:pt x="2668657" y="2176520"/>
                    <a:pt x="2417240" y="2510902"/>
                  </a:cubicBezTo>
                  <a:cubicBezTo>
                    <a:pt x="2171881" y="2839204"/>
                    <a:pt x="1829590" y="3127988"/>
                    <a:pt x="1429746" y="3340776"/>
                  </a:cubicBezTo>
                  <a:lnTo>
                    <a:pt x="1399455" y="3355975"/>
                  </a:lnTo>
                  <a:cubicBezTo>
                    <a:pt x="1372193" y="3340776"/>
                    <a:pt x="1372193" y="3340776"/>
                    <a:pt x="1372193" y="3340776"/>
                  </a:cubicBezTo>
                  <a:cubicBezTo>
                    <a:pt x="972348" y="3127988"/>
                    <a:pt x="630058" y="2839204"/>
                    <a:pt x="384699" y="2510902"/>
                  </a:cubicBezTo>
                  <a:cubicBezTo>
                    <a:pt x="133282" y="2176520"/>
                    <a:pt x="0" y="1820860"/>
                    <a:pt x="0" y="1486478"/>
                  </a:cubicBezTo>
                  <a:cubicBezTo>
                    <a:pt x="0" y="425577"/>
                    <a:pt x="0" y="425577"/>
                    <a:pt x="0" y="425577"/>
                  </a:cubicBezTo>
                  <a:cubicBezTo>
                    <a:pt x="1399455" y="0"/>
                    <a:pt x="1399455" y="0"/>
                    <a:pt x="139945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sp>
          <p:nvSpPr>
            <p:cNvPr id="373" name="Freeform 69">
              <a:extLst>
                <a:ext uri="{FF2B5EF4-FFF2-40B4-BE49-F238E27FC236}">
                  <a16:creationId xmlns:a16="http://schemas.microsoft.com/office/drawing/2014/main" id="{88FA2B9A-C52E-469C-B6B1-D07FA086F2D0}"/>
                </a:ext>
                <a:ext uri="{C183D7F6-B498-43B3-948B-1728B52AA6E4}">
                  <adec:decorative xmlns:adec="http://schemas.microsoft.com/office/drawing/2017/decorative" val="1"/>
                </a:ext>
              </a:extLst>
            </p:cNvPr>
            <p:cNvSpPr>
              <a:spLocks/>
            </p:cNvSpPr>
            <p:nvPr/>
          </p:nvSpPr>
          <p:spPr bwMode="auto">
            <a:xfrm>
              <a:off x="5930219" y="3845366"/>
              <a:ext cx="153999" cy="377563"/>
            </a:xfrm>
            <a:custGeom>
              <a:avLst/>
              <a:gdLst>
                <a:gd name="connsiteX0" fmla="*/ 1063626 w 1184275"/>
                <a:gd name="connsiteY0" fmla="*/ 163513 h 2903538"/>
                <a:gd name="connsiteX1" fmla="*/ 122238 w 1184275"/>
                <a:gd name="connsiteY1" fmla="*/ 446352 h 2903538"/>
                <a:gd name="connsiteX2" fmla="*/ 122238 w 1184275"/>
                <a:gd name="connsiteY2" fmla="*/ 1267496 h 2903538"/>
                <a:gd name="connsiteX3" fmla="*/ 1063626 w 1184275"/>
                <a:gd name="connsiteY3" fmla="*/ 2690813 h 2903538"/>
                <a:gd name="connsiteX4" fmla="*/ 1063626 w 1184275"/>
                <a:gd name="connsiteY4" fmla="*/ 163513 h 2903538"/>
                <a:gd name="connsiteX5" fmla="*/ 1184275 w 1184275"/>
                <a:gd name="connsiteY5" fmla="*/ 0 h 2903538"/>
                <a:gd name="connsiteX6" fmla="*/ 1184275 w 1184275"/>
                <a:gd name="connsiteY6" fmla="*/ 2903538 h 2903538"/>
                <a:gd name="connsiteX7" fmla="*/ 1093410 w 1184275"/>
                <a:gd name="connsiteY7" fmla="*/ 2851852 h 2903538"/>
                <a:gd name="connsiteX8" fmla="*/ 0 w 1184275"/>
                <a:gd name="connsiteY8" fmla="*/ 1267828 h 2903538"/>
                <a:gd name="connsiteX9" fmla="*/ 0 w 1184275"/>
                <a:gd name="connsiteY9" fmla="*/ 358762 h 2903538"/>
                <a:gd name="connsiteX10" fmla="*/ 1184275 w 1184275"/>
                <a:gd name="connsiteY10" fmla="*/ 0 h 290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4275" h="2903538">
                  <a:moveTo>
                    <a:pt x="1063626" y="163513"/>
                  </a:moveTo>
                  <a:lnTo>
                    <a:pt x="122238" y="446352"/>
                  </a:lnTo>
                  <a:cubicBezTo>
                    <a:pt x="122238" y="1267496"/>
                    <a:pt x="122238" y="1267496"/>
                    <a:pt x="122238" y="1267496"/>
                  </a:cubicBezTo>
                  <a:cubicBezTo>
                    <a:pt x="122238" y="1790596"/>
                    <a:pt x="473367" y="2319778"/>
                    <a:pt x="1063626" y="2690813"/>
                  </a:cubicBezTo>
                  <a:cubicBezTo>
                    <a:pt x="1063626" y="163513"/>
                    <a:pt x="1063626" y="163513"/>
                    <a:pt x="1063626" y="163513"/>
                  </a:cubicBezTo>
                  <a:close/>
                  <a:moveTo>
                    <a:pt x="1184275" y="0"/>
                  </a:moveTo>
                  <a:lnTo>
                    <a:pt x="1184275" y="2903538"/>
                  </a:lnTo>
                  <a:cubicBezTo>
                    <a:pt x="1093410" y="2851852"/>
                    <a:pt x="1093410" y="2851852"/>
                    <a:pt x="1093410" y="2851852"/>
                  </a:cubicBezTo>
                  <a:cubicBezTo>
                    <a:pt x="408893" y="2453566"/>
                    <a:pt x="0" y="1860697"/>
                    <a:pt x="0" y="1267828"/>
                  </a:cubicBezTo>
                  <a:cubicBezTo>
                    <a:pt x="0" y="358762"/>
                    <a:pt x="0" y="358762"/>
                    <a:pt x="0" y="358762"/>
                  </a:cubicBezTo>
                  <a:cubicBezTo>
                    <a:pt x="1184275" y="0"/>
                    <a:pt x="1184275" y="0"/>
                    <a:pt x="11842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grpSp>
      <p:sp>
        <p:nvSpPr>
          <p:cNvPr id="383" name="TextBox 382">
            <a:extLst>
              <a:ext uri="{FF2B5EF4-FFF2-40B4-BE49-F238E27FC236}">
                <a16:creationId xmlns:a16="http://schemas.microsoft.com/office/drawing/2014/main" id="{E84D6265-EBC2-41D7-9D1D-51CE3FE12AB3}"/>
              </a:ext>
            </a:extLst>
          </p:cNvPr>
          <p:cNvSpPr txBox="1"/>
          <p:nvPr/>
        </p:nvSpPr>
        <p:spPr>
          <a:xfrm>
            <a:off x="743704" y="4882779"/>
            <a:ext cx="2609783" cy="1015663"/>
          </a:xfrm>
          <a:prstGeom prst="rect">
            <a:avLst/>
          </a:prstGeom>
          <a:noFill/>
        </p:spPr>
        <p:txBody>
          <a:bodyPr wrap="square" rtlCol="0">
            <a:sp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Secure</a:t>
            </a:r>
            <a:r>
              <a:rPr kumimoji="0" lang="en-US" sz="2000" b="0"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 your </a:t>
            </a: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development environment</a:t>
            </a:r>
          </a:p>
        </p:txBody>
      </p:sp>
      <p:grpSp>
        <p:nvGrpSpPr>
          <p:cNvPr id="388" name="Group 387">
            <a:extLst>
              <a:ext uri="{FF2B5EF4-FFF2-40B4-BE49-F238E27FC236}">
                <a16:creationId xmlns:a16="http://schemas.microsoft.com/office/drawing/2014/main" id="{090E12A9-F80F-41EF-99DA-AE11BF230A69}"/>
              </a:ext>
              <a:ext uri="{C183D7F6-B498-43B3-948B-1728B52AA6E4}">
                <adec:decorative xmlns:adec="http://schemas.microsoft.com/office/drawing/2017/decorative" val="1"/>
              </a:ext>
            </a:extLst>
          </p:cNvPr>
          <p:cNvGrpSpPr/>
          <p:nvPr/>
        </p:nvGrpSpPr>
        <p:grpSpPr>
          <a:xfrm>
            <a:off x="4077453" y="3412927"/>
            <a:ext cx="4057716" cy="2836903"/>
            <a:chOff x="8124858" y="3412927"/>
            <a:chExt cx="4057716" cy="2836903"/>
          </a:xfrm>
        </p:grpSpPr>
        <p:sp>
          <p:nvSpPr>
            <p:cNvPr id="389" name="Rectangle 388">
              <a:extLst>
                <a:ext uri="{FF2B5EF4-FFF2-40B4-BE49-F238E27FC236}">
                  <a16:creationId xmlns:a16="http://schemas.microsoft.com/office/drawing/2014/main" id="{61B09F9E-842D-4085-8F00-3E7BAE8E7031}"/>
                </a:ext>
                <a:ext uri="{C183D7F6-B498-43B3-948B-1728B52AA6E4}">
                  <adec:decorative xmlns:adec="http://schemas.microsoft.com/office/drawing/2017/decorative" val="1"/>
                </a:ext>
              </a:extLst>
            </p:cNvPr>
            <p:cNvSpPr/>
            <p:nvPr/>
          </p:nvSpPr>
          <p:spPr>
            <a:xfrm>
              <a:off x="8124858" y="4037371"/>
              <a:ext cx="4057716" cy="2212459"/>
            </a:xfrm>
            <a:prstGeom prst="rect">
              <a:avLst/>
            </a:prstGeom>
            <a:gradFill>
              <a:gsLst>
                <a:gs pos="2000">
                  <a:srgbClr val="352559"/>
                </a:gs>
                <a:gs pos="100000">
                  <a:schemeClr val="accent2">
                    <a:alpha val="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390" name="Group 389">
              <a:extLst>
                <a:ext uri="{FF2B5EF4-FFF2-40B4-BE49-F238E27FC236}">
                  <a16:creationId xmlns:a16="http://schemas.microsoft.com/office/drawing/2014/main" id="{C071893F-A312-43C5-AF82-8B6B62F2AF2C}"/>
                </a:ext>
                <a:ext uri="{C183D7F6-B498-43B3-948B-1728B52AA6E4}">
                  <adec:decorative xmlns:adec="http://schemas.microsoft.com/office/drawing/2017/decorative" val="1"/>
                </a:ext>
              </a:extLst>
            </p:cNvPr>
            <p:cNvGrpSpPr/>
            <p:nvPr/>
          </p:nvGrpSpPr>
          <p:grpSpPr>
            <a:xfrm>
              <a:off x="9527481" y="3412927"/>
              <a:ext cx="1251585" cy="1251585"/>
              <a:chOff x="9527481" y="3412927"/>
              <a:chExt cx="1251585" cy="1251585"/>
            </a:xfrm>
          </p:grpSpPr>
          <p:sp>
            <p:nvSpPr>
              <p:cNvPr id="391" name="Oval 390">
                <a:extLst>
                  <a:ext uri="{FF2B5EF4-FFF2-40B4-BE49-F238E27FC236}">
                    <a16:creationId xmlns:a16="http://schemas.microsoft.com/office/drawing/2014/main" id="{F6DC197B-1C3B-45F7-AD0A-668855985CB5}"/>
                  </a:ext>
                  <a:ext uri="{C183D7F6-B498-43B3-948B-1728B52AA6E4}">
                    <adec:decorative xmlns:adec="http://schemas.microsoft.com/office/drawing/2017/decorative" val="1"/>
                  </a:ext>
                </a:extLst>
              </p:cNvPr>
              <p:cNvSpPr/>
              <p:nvPr/>
            </p:nvSpPr>
            <p:spPr>
              <a:xfrm>
                <a:off x="9527481" y="3412927"/>
                <a:ext cx="1251585" cy="1251585"/>
              </a:xfrm>
              <a:prstGeom prst="ellipse">
                <a:avLst/>
              </a:prstGeom>
              <a:solidFill>
                <a:srgbClr val="8661C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92" name="Oval 391">
                <a:extLst>
                  <a:ext uri="{FF2B5EF4-FFF2-40B4-BE49-F238E27FC236}">
                    <a16:creationId xmlns:a16="http://schemas.microsoft.com/office/drawing/2014/main" id="{E88EF980-4008-4362-903D-5EDED1AA9D34}"/>
                  </a:ext>
                  <a:ext uri="{C183D7F6-B498-43B3-948B-1728B52AA6E4}">
                    <adec:decorative xmlns:adec="http://schemas.microsoft.com/office/drawing/2017/decorative" val="1"/>
                  </a:ext>
                </a:extLst>
              </p:cNvPr>
              <p:cNvSpPr/>
              <p:nvPr/>
            </p:nvSpPr>
            <p:spPr>
              <a:xfrm>
                <a:off x="9676868" y="3559173"/>
                <a:ext cx="959093" cy="959093"/>
              </a:xfrm>
              <a:prstGeom prst="ellipse">
                <a:avLst/>
              </a:prstGeom>
              <a:solidFill>
                <a:srgbClr val="8661C5">
                  <a:alpha val="57000"/>
                </a:srgbClr>
              </a:solidFill>
              <a:ln>
                <a:noFill/>
              </a:ln>
              <a:effectLst>
                <a:outerShdw blurRad="889000" dist="508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93" name="Oval 392">
                <a:extLst>
                  <a:ext uri="{FF2B5EF4-FFF2-40B4-BE49-F238E27FC236}">
                    <a16:creationId xmlns:a16="http://schemas.microsoft.com/office/drawing/2014/main" id="{C7283533-8915-4D2E-9CFC-EC6382D56085}"/>
                  </a:ext>
                  <a:ext uri="{C183D7F6-B498-43B3-948B-1728B52AA6E4}">
                    <adec:decorative xmlns:adec="http://schemas.microsoft.com/office/drawing/2017/decorative" val="1"/>
                  </a:ext>
                </a:extLst>
              </p:cNvPr>
              <p:cNvSpPr/>
              <p:nvPr/>
            </p:nvSpPr>
            <p:spPr>
              <a:xfrm>
                <a:off x="9838992" y="3722550"/>
                <a:ext cx="635642" cy="635642"/>
              </a:xfrm>
              <a:prstGeom prst="ellipse">
                <a:avLst/>
              </a:prstGeom>
              <a:solidFill>
                <a:srgbClr val="866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grpSp>
      <p:grpSp>
        <p:nvGrpSpPr>
          <p:cNvPr id="14" name="Group 13" descr="Icon of a document folder with a padded lock">
            <a:extLst>
              <a:ext uri="{FF2B5EF4-FFF2-40B4-BE49-F238E27FC236}">
                <a16:creationId xmlns:a16="http://schemas.microsoft.com/office/drawing/2014/main" id="{0237A012-E488-4FC0-B1CA-5F86761877C9}"/>
              </a:ext>
            </a:extLst>
          </p:cNvPr>
          <p:cNvGrpSpPr/>
          <p:nvPr/>
        </p:nvGrpSpPr>
        <p:grpSpPr>
          <a:xfrm>
            <a:off x="5882923" y="3865787"/>
            <a:ext cx="445890" cy="345865"/>
            <a:chOff x="9930328" y="3865787"/>
            <a:chExt cx="445890" cy="345865"/>
          </a:xfrm>
        </p:grpSpPr>
        <p:sp>
          <p:nvSpPr>
            <p:cNvPr id="400" name="Freeform 51">
              <a:extLst>
                <a:ext uri="{FF2B5EF4-FFF2-40B4-BE49-F238E27FC236}">
                  <a16:creationId xmlns:a16="http://schemas.microsoft.com/office/drawing/2014/main" id="{FD5CEB01-FE29-408A-8D55-90B149695130}"/>
                </a:ext>
                <a:ext uri="{C183D7F6-B498-43B3-948B-1728B52AA6E4}">
                  <adec:decorative xmlns:adec="http://schemas.microsoft.com/office/drawing/2017/decorative" val="1"/>
                </a:ext>
              </a:extLst>
            </p:cNvPr>
            <p:cNvSpPr>
              <a:spLocks/>
            </p:cNvSpPr>
            <p:nvPr/>
          </p:nvSpPr>
          <p:spPr bwMode="auto">
            <a:xfrm>
              <a:off x="9930328" y="3865787"/>
              <a:ext cx="445890" cy="345865"/>
            </a:xfrm>
            <a:custGeom>
              <a:avLst/>
              <a:gdLst>
                <a:gd name="connsiteX0" fmla="*/ 275886 w 5364163"/>
                <a:gd name="connsiteY0" fmla="*/ 1023938 h 4160838"/>
                <a:gd name="connsiteX1" fmla="*/ 169863 w 5364163"/>
                <a:gd name="connsiteY1" fmla="*/ 1121566 h 4160838"/>
                <a:gd name="connsiteX2" fmla="*/ 907785 w 5364163"/>
                <a:gd name="connsiteY2" fmla="*/ 3838167 h 4160838"/>
                <a:gd name="connsiteX3" fmla="*/ 1047736 w 5364163"/>
                <a:gd name="connsiteY3" fmla="*/ 3990976 h 4160838"/>
                <a:gd name="connsiteX4" fmla="*/ 5055416 w 5364163"/>
                <a:gd name="connsiteY4" fmla="*/ 3982487 h 4160838"/>
                <a:gd name="connsiteX5" fmla="*/ 5191126 w 5364163"/>
                <a:gd name="connsiteY5" fmla="*/ 3876370 h 4160838"/>
                <a:gd name="connsiteX6" fmla="*/ 4419277 w 5364163"/>
                <a:gd name="connsiteY6" fmla="*/ 1159768 h 4160838"/>
                <a:gd name="connsiteX7" fmla="*/ 4309012 w 5364163"/>
                <a:gd name="connsiteY7" fmla="*/ 1023938 h 4160838"/>
                <a:gd name="connsiteX8" fmla="*/ 275886 w 5364163"/>
                <a:gd name="connsiteY8" fmla="*/ 1023938 h 4160838"/>
                <a:gd name="connsiteX9" fmla="*/ 4138357 w 5364163"/>
                <a:gd name="connsiteY9" fmla="*/ 169863 h 4160838"/>
                <a:gd name="connsiteX10" fmla="*/ 4078987 w 5364163"/>
                <a:gd name="connsiteY10" fmla="*/ 229329 h 4160838"/>
                <a:gd name="connsiteX11" fmla="*/ 4078987 w 5364163"/>
                <a:gd name="connsiteY11" fmla="*/ 581878 h 4160838"/>
                <a:gd name="connsiteX12" fmla="*/ 3994172 w 5364163"/>
                <a:gd name="connsiteY12" fmla="*/ 666829 h 4160838"/>
                <a:gd name="connsiteX13" fmla="*/ 1076547 w 5364163"/>
                <a:gd name="connsiteY13" fmla="*/ 666829 h 4160838"/>
                <a:gd name="connsiteX14" fmla="*/ 949325 w 5364163"/>
                <a:gd name="connsiteY14" fmla="*/ 794257 h 4160838"/>
                <a:gd name="connsiteX15" fmla="*/ 949325 w 5364163"/>
                <a:gd name="connsiteY15" fmla="*/ 853723 h 4160838"/>
                <a:gd name="connsiteX16" fmla="*/ 4307987 w 5364163"/>
                <a:gd name="connsiteY16" fmla="*/ 853723 h 4160838"/>
                <a:gd name="connsiteX17" fmla="*/ 4579394 w 5364163"/>
                <a:gd name="connsiteY17" fmla="*/ 1108577 h 4160838"/>
                <a:gd name="connsiteX18" fmla="*/ 5194300 w 5364163"/>
                <a:gd name="connsiteY18" fmla="*/ 3168651 h 4160838"/>
                <a:gd name="connsiteX19" fmla="*/ 5194300 w 5364163"/>
                <a:gd name="connsiteY19" fmla="*/ 229329 h 4160838"/>
                <a:gd name="connsiteX20" fmla="*/ 5134930 w 5364163"/>
                <a:gd name="connsiteY20" fmla="*/ 169863 h 4160838"/>
                <a:gd name="connsiteX21" fmla="*/ 4138357 w 5364163"/>
                <a:gd name="connsiteY21" fmla="*/ 169863 h 4160838"/>
                <a:gd name="connsiteX22" fmla="*/ 4138675 w 5364163"/>
                <a:gd name="connsiteY22" fmla="*/ 0 h 4160838"/>
                <a:gd name="connsiteX23" fmla="*/ 5135179 w 5364163"/>
                <a:gd name="connsiteY23" fmla="*/ 0 h 4160838"/>
                <a:gd name="connsiteX24" fmla="*/ 5364163 w 5364163"/>
                <a:gd name="connsiteY24" fmla="*/ 229271 h 4160838"/>
                <a:gd name="connsiteX25" fmla="*/ 5364163 w 5364163"/>
                <a:gd name="connsiteY25" fmla="*/ 3825424 h 4160838"/>
                <a:gd name="connsiteX26" fmla="*/ 5359922 w 5364163"/>
                <a:gd name="connsiteY26" fmla="*/ 3846652 h 4160838"/>
                <a:gd name="connsiteX27" fmla="*/ 5359922 w 5364163"/>
                <a:gd name="connsiteY27" fmla="*/ 3850898 h 4160838"/>
                <a:gd name="connsiteX28" fmla="*/ 5364163 w 5364163"/>
                <a:gd name="connsiteY28" fmla="*/ 3867881 h 4160838"/>
                <a:gd name="connsiteX29" fmla="*/ 5054610 w 5364163"/>
                <a:gd name="connsiteY29" fmla="*/ 4152347 h 4160838"/>
                <a:gd name="connsiteX30" fmla="*/ 1047390 w 5364163"/>
                <a:gd name="connsiteY30" fmla="*/ 4160838 h 4160838"/>
                <a:gd name="connsiteX31" fmla="*/ 746318 w 5364163"/>
                <a:gd name="connsiteY31" fmla="*/ 3880618 h 4160838"/>
                <a:gd name="connsiteX32" fmla="*/ 4241 w 5364163"/>
                <a:gd name="connsiteY32" fmla="*/ 1154845 h 4160838"/>
                <a:gd name="connsiteX33" fmla="*/ 0 w 5364163"/>
                <a:gd name="connsiteY33" fmla="*/ 1133616 h 4160838"/>
                <a:gd name="connsiteX34" fmla="*/ 275629 w 5364163"/>
                <a:gd name="connsiteY34" fmla="*/ 853397 h 4160838"/>
                <a:gd name="connsiteX35" fmla="*/ 780242 w 5364163"/>
                <a:gd name="connsiteY35" fmla="*/ 853397 h 4160838"/>
                <a:gd name="connsiteX36" fmla="*/ 780242 w 5364163"/>
                <a:gd name="connsiteY36" fmla="*/ 793956 h 4160838"/>
                <a:gd name="connsiteX37" fmla="*/ 1077073 w 5364163"/>
                <a:gd name="connsiteY37" fmla="*/ 496753 h 4160838"/>
                <a:gd name="connsiteX38" fmla="*/ 3909690 w 5364163"/>
                <a:gd name="connsiteY38" fmla="*/ 496753 h 4160838"/>
                <a:gd name="connsiteX39" fmla="*/ 3909690 w 5364163"/>
                <a:gd name="connsiteY39" fmla="*/ 229271 h 4160838"/>
                <a:gd name="connsiteX40" fmla="*/ 4138675 w 5364163"/>
                <a:gd name="connsiteY40" fmla="*/ 0 h 416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64163" h="4160838">
                  <a:moveTo>
                    <a:pt x="275886" y="1023938"/>
                  </a:moveTo>
                  <a:cubicBezTo>
                    <a:pt x="220754" y="1023938"/>
                    <a:pt x="178345" y="1066385"/>
                    <a:pt x="169863" y="1121566"/>
                  </a:cubicBezTo>
                  <a:cubicBezTo>
                    <a:pt x="907785" y="3838167"/>
                    <a:pt x="907785" y="3838167"/>
                    <a:pt x="907785" y="3838167"/>
                  </a:cubicBezTo>
                  <a:cubicBezTo>
                    <a:pt x="950195" y="3990976"/>
                    <a:pt x="1022290" y="3990976"/>
                    <a:pt x="1047736" y="3990976"/>
                  </a:cubicBezTo>
                  <a:cubicBezTo>
                    <a:pt x="5055416" y="3982487"/>
                    <a:pt x="5055416" y="3982487"/>
                    <a:pt x="5055416" y="3982487"/>
                  </a:cubicBezTo>
                  <a:cubicBezTo>
                    <a:pt x="5119030" y="3982487"/>
                    <a:pt x="5186885" y="3927306"/>
                    <a:pt x="5191126" y="3876370"/>
                  </a:cubicBezTo>
                  <a:cubicBezTo>
                    <a:pt x="5029970" y="3150528"/>
                    <a:pt x="4775515" y="2259143"/>
                    <a:pt x="4419277" y="1159768"/>
                  </a:cubicBezTo>
                  <a:cubicBezTo>
                    <a:pt x="4376867" y="1036672"/>
                    <a:pt x="4342940" y="1023938"/>
                    <a:pt x="4309012" y="1023938"/>
                  </a:cubicBezTo>
                  <a:cubicBezTo>
                    <a:pt x="275886" y="1023938"/>
                    <a:pt x="275886" y="1023938"/>
                    <a:pt x="275886" y="1023938"/>
                  </a:cubicBezTo>
                  <a:close/>
                  <a:moveTo>
                    <a:pt x="4138357" y="169863"/>
                  </a:moveTo>
                  <a:cubicBezTo>
                    <a:pt x="4104431" y="169863"/>
                    <a:pt x="4078987" y="195349"/>
                    <a:pt x="4078987" y="229329"/>
                  </a:cubicBezTo>
                  <a:cubicBezTo>
                    <a:pt x="4078987" y="581878"/>
                    <a:pt x="4078987" y="581878"/>
                    <a:pt x="4078987" y="581878"/>
                  </a:cubicBezTo>
                  <a:cubicBezTo>
                    <a:pt x="4078987" y="628601"/>
                    <a:pt x="4040820" y="666829"/>
                    <a:pt x="3994172" y="666829"/>
                  </a:cubicBezTo>
                  <a:cubicBezTo>
                    <a:pt x="1076547" y="666829"/>
                    <a:pt x="1076547" y="666829"/>
                    <a:pt x="1076547" y="666829"/>
                  </a:cubicBezTo>
                  <a:cubicBezTo>
                    <a:pt x="1004455" y="666829"/>
                    <a:pt x="949325" y="722048"/>
                    <a:pt x="949325" y="794257"/>
                  </a:cubicBezTo>
                  <a:lnTo>
                    <a:pt x="949325" y="853723"/>
                  </a:lnTo>
                  <a:cubicBezTo>
                    <a:pt x="4307987" y="853723"/>
                    <a:pt x="4307987" y="853723"/>
                    <a:pt x="4307987" y="853723"/>
                  </a:cubicBezTo>
                  <a:cubicBezTo>
                    <a:pt x="4498820" y="853723"/>
                    <a:pt x="4553949" y="1032121"/>
                    <a:pt x="4579394" y="1108577"/>
                  </a:cubicBezTo>
                  <a:cubicBezTo>
                    <a:pt x="4833838" y="1894379"/>
                    <a:pt x="5037393" y="2573991"/>
                    <a:pt x="5194300" y="3168651"/>
                  </a:cubicBezTo>
                  <a:cubicBezTo>
                    <a:pt x="5194300" y="229329"/>
                    <a:pt x="5194300" y="229329"/>
                    <a:pt x="5194300" y="229329"/>
                  </a:cubicBezTo>
                  <a:cubicBezTo>
                    <a:pt x="5194300" y="195349"/>
                    <a:pt x="5168856" y="169863"/>
                    <a:pt x="5134930" y="169863"/>
                  </a:cubicBezTo>
                  <a:cubicBezTo>
                    <a:pt x="4138357" y="169863"/>
                    <a:pt x="4138357" y="169863"/>
                    <a:pt x="4138357" y="169863"/>
                  </a:cubicBezTo>
                  <a:close/>
                  <a:moveTo>
                    <a:pt x="4138675" y="0"/>
                  </a:moveTo>
                  <a:cubicBezTo>
                    <a:pt x="5135179" y="0"/>
                    <a:pt x="5135179" y="0"/>
                    <a:pt x="5135179" y="0"/>
                  </a:cubicBezTo>
                  <a:cubicBezTo>
                    <a:pt x="5262392" y="0"/>
                    <a:pt x="5364163" y="101898"/>
                    <a:pt x="5364163" y="229271"/>
                  </a:cubicBezTo>
                  <a:cubicBezTo>
                    <a:pt x="5364163" y="3825424"/>
                    <a:pt x="5364163" y="3825424"/>
                    <a:pt x="5364163" y="3825424"/>
                  </a:cubicBezTo>
                  <a:cubicBezTo>
                    <a:pt x="5364163" y="3829669"/>
                    <a:pt x="5359922" y="3838161"/>
                    <a:pt x="5359922" y="3846652"/>
                  </a:cubicBezTo>
                  <a:cubicBezTo>
                    <a:pt x="5359922" y="3846652"/>
                    <a:pt x="5359922" y="3846652"/>
                    <a:pt x="5359922" y="3850898"/>
                  </a:cubicBezTo>
                  <a:cubicBezTo>
                    <a:pt x="5359922" y="3855144"/>
                    <a:pt x="5364163" y="3863635"/>
                    <a:pt x="5364163" y="3867881"/>
                  </a:cubicBezTo>
                  <a:cubicBezTo>
                    <a:pt x="5364163" y="4033466"/>
                    <a:pt x="5198786" y="4152347"/>
                    <a:pt x="5054610" y="4152347"/>
                  </a:cubicBezTo>
                  <a:lnTo>
                    <a:pt x="1047390" y="4160838"/>
                  </a:lnTo>
                  <a:cubicBezTo>
                    <a:pt x="962581" y="4160838"/>
                    <a:pt x="809925" y="4126872"/>
                    <a:pt x="746318" y="3880618"/>
                  </a:cubicBezTo>
                  <a:cubicBezTo>
                    <a:pt x="4241" y="1154845"/>
                    <a:pt x="4241" y="1154845"/>
                    <a:pt x="4241" y="1154845"/>
                  </a:cubicBezTo>
                  <a:cubicBezTo>
                    <a:pt x="4241" y="1146354"/>
                    <a:pt x="0" y="1142108"/>
                    <a:pt x="0" y="1133616"/>
                  </a:cubicBezTo>
                  <a:cubicBezTo>
                    <a:pt x="0" y="980769"/>
                    <a:pt x="127213" y="853397"/>
                    <a:pt x="275629" y="853397"/>
                  </a:cubicBezTo>
                  <a:cubicBezTo>
                    <a:pt x="780242" y="853397"/>
                    <a:pt x="780242" y="853397"/>
                    <a:pt x="780242" y="853397"/>
                  </a:cubicBezTo>
                  <a:cubicBezTo>
                    <a:pt x="780242" y="793956"/>
                    <a:pt x="780242" y="793956"/>
                    <a:pt x="780242" y="793956"/>
                  </a:cubicBezTo>
                  <a:cubicBezTo>
                    <a:pt x="780242" y="628372"/>
                    <a:pt x="911696" y="496753"/>
                    <a:pt x="1077073" y="496753"/>
                  </a:cubicBezTo>
                  <a:cubicBezTo>
                    <a:pt x="3909690" y="496753"/>
                    <a:pt x="3909690" y="496753"/>
                    <a:pt x="3909690" y="496753"/>
                  </a:cubicBezTo>
                  <a:cubicBezTo>
                    <a:pt x="3909690" y="229271"/>
                    <a:pt x="3909690" y="229271"/>
                    <a:pt x="3909690" y="229271"/>
                  </a:cubicBezTo>
                  <a:cubicBezTo>
                    <a:pt x="3909690" y="101898"/>
                    <a:pt x="4011461" y="0"/>
                    <a:pt x="41386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sp>
          <p:nvSpPr>
            <p:cNvPr id="401" name="Freeform 54">
              <a:extLst>
                <a:ext uri="{FF2B5EF4-FFF2-40B4-BE49-F238E27FC236}">
                  <a16:creationId xmlns:a16="http://schemas.microsoft.com/office/drawing/2014/main" id="{E985C8D6-94DE-493B-B628-B957D7EC7846}"/>
                </a:ext>
                <a:ext uri="{C183D7F6-B498-43B3-948B-1728B52AA6E4}">
                  <adec:decorative xmlns:adec="http://schemas.microsoft.com/office/drawing/2017/decorative" val="1"/>
                </a:ext>
              </a:extLst>
            </p:cNvPr>
            <p:cNvSpPr>
              <a:spLocks noChangeArrowheads="1"/>
            </p:cNvSpPr>
            <p:nvPr/>
          </p:nvSpPr>
          <p:spPr bwMode="auto">
            <a:xfrm>
              <a:off x="10079442" y="3994315"/>
              <a:ext cx="125097" cy="147135"/>
            </a:xfrm>
            <a:custGeom>
              <a:avLst/>
              <a:gdLst>
                <a:gd name="connsiteX0" fmla="*/ 761207 w 1504950"/>
                <a:gd name="connsiteY0" fmla="*/ 958850 h 1770063"/>
                <a:gd name="connsiteX1" fmla="*/ 895351 w 1504950"/>
                <a:gd name="connsiteY1" fmla="*/ 1092994 h 1770063"/>
                <a:gd name="connsiteX2" fmla="*/ 856062 w 1504950"/>
                <a:gd name="connsiteY2" fmla="*/ 1187848 h 1770063"/>
                <a:gd name="connsiteX3" fmla="*/ 847726 w 1504950"/>
                <a:gd name="connsiteY3" fmla="*/ 1193468 h 1770063"/>
                <a:gd name="connsiteX4" fmla="*/ 847726 w 1504950"/>
                <a:gd name="connsiteY4" fmla="*/ 1238227 h 1770063"/>
                <a:gd name="connsiteX5" fmla="*/ 847726 w 1504950"/>
                <a:gd name="connsiteY5" fmla="*/ 1315254 h 1770063"/>
                <a:gd name="connsiteX6" fmla="*/ 762795 w 1504950"/>
                <a:gd name="connsiteY6" fmla="*/ 1400175 h 1770063"/>
                <a:gd name="connsiteX7" fmla="*/ 677863 w 1504950"/>
                <a:gd name="connsiteY7" fmla="*/ 1315254 h 1770063"/>
                <a:gd name="connsiteX8" fmla="*/ 677863 w 1504950"/>
                <a:gd name="connsiteY8" fmla="*/ 1209699 h 1770063"/>
                <a:gd name="connsiteX9" fmla="*/ 677863 w 1504950"/>
                <a:gd name="connsiteY9" fmla="*/ 1195609 h 1770063"/>
                <a:gd name="connsiteX10" fmla="*/ 666353 w 1504950"/>
                <a:gd name="connsiteY10" fmla="*/ 1187848 h 1770063"/>
                <a:gd name="connsiteX11" fmla="*/ 627063 w 1504950"/>
                <a:gd name="connsiteY11" fmla="*/ 1092994 h 1770063"/>
                <a:gd name="connsiteX12" fmla="*/ 761207 w 1504950"/>
                <a:gd name="connsiteY12" fmla="*/ 958850 h 1770063"/>
                <a:gd name="connsiteX13" fmla="*/ 369196 w 1504950"/>
                <a:gd name="connsiteY13" fmla="*/ 720726 h 1770063"/>
                <a:gd name="connsiteX14" fmla="*/ 364774 w 1504950"/>
                <a:gd name="connsiteY14" fmla="*/ 721626 h 1770063"/>
                <a:gd name="connsiteX15" fmla="*/ 233421 w 1504950"/>
                <a:gd name="connsiteY15" fmla="*/ 721626 h 1770063"/>
                <a:gd name="connsiteX16" fmla="*/ 169863 w 1504950"/>
                <a:gd name="connsiteY16" fmla="*/ 789535 h 1770063"/>
                <a:gd name="connsiteX17" fmla="*/ 169863 w 1504950"/>
                <a:gd name="connsiteY17" fmla="*/ 1468627 h 1770063"/>
                <a:gd name="connsiteX18" fmla="*/ 216472 w 1504950"/>
                <a:gd name="connsiteY18" fmla="*/ 1532292 h 1770063"/>
                <a:gd name="connsiteX19" fmla="*/ 741883 w 1504950"/>
                <a:gd name="connsiteY19" fmla="*/ 1600201 h 1770063"/>
                <a:gd name="connsiteX20" fmla="*/ 1284242 w 1504950"/>
                <a:gd name="connsiteY20" fmla="*/ 1536536 h 1770063"/>
                <a:gd name="connsiteX21" fmla="*/ 1335088 w 1504950"/>
                <a:gd name="connsiteY21" fmla="*/ 1472871 h 1770063"/>
                <a:gd name="connsiteX22" fmla="*/ 1335088 w 1504950"/>
                <a:gd name="connsiteY22" fmla="*/ 789535 h 1770063"/>
                <a:gd name="connsiteX23" fmla="*/ 1271530 w 1504950"/>
                <a:gd name="connsiteY23" fmla="*/ 721626 h 1770063"/>
                <a:gd name="connsiteX24" fmla="*/ 1148652 w 1504950"/>
                <a:gd name="connsiteY24" fmla="*/ 721626 h 1770063"/>
                <a:gd name="connsiteX25" fmla="*/ 1144231 w 1504950"/>
                <a:gd name="connsiteY25" fmla="*/ 720726 h 1770063"/>
                <a:gd name="connsiteX26" fmla="*/ 1010593 w 1504950"/>
                <a:gd name="connsiteY26" fmla="*/ 720726 h 1770063"/>
                <a:gd name="connsiteX27" fmla="*/ 376466 w 1504950"/>
                <a:gd name="connsiteY27" fmla="*/ 720726 h 1770063"/>
                <a:gd name="connsiteX28" fmla="*/ 754594 w 1504950"/>
                <a:gd name="connsiteY28" fmla="*/ 169863 h 1770063"/>
                <a:gd name="connsiteX29" fmla="*/ 525787 w 1504950"/>
                <a:gd name="connsiteY29" fmla="*/ 258994 h 1770063"/>
                <a:gd name="connsiteX30" fmla="*/ 449517 w 1504950"/>
                <a:gd name="connsiteY30" fmla="*/ 530631 h 1770063"/>
                <a:gd name="connsiteX31" fmla="*/ 449517 w 1504950"/>
                <a:gd name="connsiteY31" fmla="*/ 550863 h 1770063"/>
                <a:gd name="connsiteX32" fmla="*/ 502295 w 1504950"/>
                <a:gd name="connsiteY32" fmla="*/ 550863 h 1770063"/>
                <a:gd name="connsiteX33" fmla="*/ 1050621 w 1504950"/>
                <a:gd name="connsiteY33" fmla="*/ 550863 h 1770063"/>
                <a:gd name="connsiteX34" fmla="*/ 1063909 w 1504950"/>
                <a:gd name="connsiteY34" fmla="*/ 550863 h 1770063"/>
                <a:gd name="connsiteX35" fmla="*/ 1063909 w 1504950"/>
                <a:gd name="connsiteY35" fmla="*/ 543895 h 1770063"/>
                <a:gd name="connsiteX36" fmla="*/ 1063909 w 1504950"/>
                <a:gd name="connsiteY36" fmla="*/ 530631 h 1770063"/>
                <a:gd name="connsiteX37" fmla="*/ 987639 w 1504950"/>
                <a:gd name="connsiteY37" fmla="*/ 258994 h 1770063"/>
                <a:gd name="connsiteX38" fmla="*/ 754594 w 1504950"/>
                <a:gd name="connsiteY38" fmla="*/ 169863 h 1770063"/>
                <a:gd name="connsiteX39" fmla="*/ 754595 w 1504950"/>
                <a:gd name="connsiteY39" fmla="*/ 0 h 1770063"/>
                <a:gd name="connsiteX40" fmla="*/ 1114935 w 1504950"/>
                <a:gd name="connsiteY40" fmla="*/ 148567 h 1770063"/>
                <a:gd name="connsiteX41" fmla="*/ 1233635 w 1504950"/>
                <a:gd name="connsiteY41" fmla="*/ 530595 h 1770063"/>
                <a:gd name="connsiteX42" fmla="*/ 1233635 w 1504950"/>
                <a:gd name="connsiteY42" fmla="*/ 551818 h 1770063"/>
                <a:gd name="connsiteX43" fmla="*/ 1271789 w 1504950"/>
                <a:gd name="connsiteY43" fmla="*/ 551818 h 1770063"/>
                <a:gd name="connsiteX44" fmla="*/ 1504950 w 1504950"/>
                <a:gd name="connsiteY44" fmla="*/ 789525 h 1770063"/>
                <a:gd name="connsiteX45" fmla="*/ 1504950 w 1504950"/>
                <a:gd name="connsiteY45" fmla="*/ 1472930 h 1770063"/>
                <a:gd name="connsiteX46" fmla="*/ 1322660 w 1504950"/>
                <a:gd name="connsiteY46" fmla="*/ 1702147 h 1770063"/>
                <a:gd name="connsiteX47" fmla="*/ 741877 w 1504950"/>
                <a:gd name="connsiteY47" fmla="*/ 1770063 h 1770063"/>
                <a:gd name="connsiteX48" fmla="*/ 178051 w 1504950"/>
                <a:gd name="connsiteY48" fmla="*/ 1697902 h 1770063"/>
                <a:gd name="connsiteX49" fmla="*/ 0 w 1504950"/>
                <a:gd name="connsiteY49" fmla="*/ 1468686 h 1770063"/>
                <a:gd name="connsiteX50" fmla="*/ 0 w 1504950"/>
                <a:gd name="connsiteY50" fmla="*/ 789525 h 1770063"/>
                <a:gd name="connsiteX51" fmla="*/ 233162 w 1504950"/>
                <a:gd name="connsiteY51" fmla="*/ 551818 h 1770063"/>
                <a:gd name="connsiteX52" fmla="*/ 279794 w 1504950"/>
                <a:gd name="connsiteY52" fmla="*/ 551818 h 1770063"/>
                <a:gd name="connsiteX53" fmla="*/ 279794 w 1504950"/>
                <a:gd name="connsiteY53" fmla="*/ 530595 h 1770063"/>
                <a:gd name="connsiteX54" fmla="*/ 398494 w 1504950"/>
                <a:gd name="connsiteY54" fmla="*/ 148567 h 1770063"/>
                <a:gd name="connsiteX55" fmla="*/ 754595 w 1504950"/>
                <a:gd name="connsiteY55" fmla="*/ 0 h 17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04950" h="1770063">
                  <a:moveTo>
                    <a:pt x="761207" y="958850"/>
                  </a:moveTo>
                  <a:cubicBezTo>
                    <a:pt x="835293" y="958850"/>
                    <a:pt x="895351" y="1018908"/>
                    <a:pt x="895351" y="1092994"/>
                  </a:cubicBezTo>
                  <a:cubicBezTo>
                    <a:pt x="895351" y="1130037"/>
                    <a:pt x="880337" y="1163573"/>
                    <a:pt x="856062" y="1187848"/>
                  </a:cubicBezTo>
                  <a:lnTo>
                    <a:pt x="847726" y="1193468"/>
                  </a:lnTo>
                  <a:lnTo>
                    <a:pt x="847726" y="1238227"/>
                  </a:lnTo>
                  <a:cubicBezTo>
                    <a:pt x="847726" y="1315254"/>
                    <a:pt x="847726" y="1315254"/>
                    <a:pt x="847726" y="1315254"/>
                  </a:cubicBezTo>
                  <a:cubicBezTo>
                    <a:pt x="847726" y="1361960"/>
                    <a:pt x="809507" y="1400175"/>
                    <a:pt x="762795" y="1400175"/>
                  </a:cubicBezTo>
                  <a:cubicBezTo>
                    <a:pt x="716082" y="1400175"/>
                    <a:pt x="677863" y="1361960"/>
                    <a:pt x="677863" y="1315254"/>
                  </a:cubicBezTo>
                  <a:cubicBezTo>
                    <a:pt x="677863" y="1269608"/>
                    <a:pt x="677863" y="1235374"/>
                    <a:pt x="677863" y="1209699"/>
                  </a:cubicBezTo>
                  <a:lnTo>
                    <a:pt x="677863" y="1195609"/>
                  </a:lnTo>
                  <a:lnTo>
                    <a:pt x="666353" y="1187848"/>
                  </a:lnTo>
                  <a:cubicBezTo>
                    <a:pt x="642078" y="1163573"/>
                    <a:pt x="627063" y="1130037"/>
                    <a:pt x="627063" y="1092994"/>
                  </a:cubicBezTo>
                  <a:cubicBezTo>
                    <a:pt x="627063" y="1018908"/>
                    <a:pt x="687121" y="958850"/>
                    <a:pt x="761207" y="958850"/>
                  </a:cubicBezTo>
                  <a:close/>
                  <a:moveTo>
                    <a:pt x="369196" y="720726"/>
                  </a:moveTo>
                  <a:lnTo>
                    <a:pt x="364774" y="721626"/>
                  </a:lnTo>
                  <a:lnTo>
                    <a:pt x="233421" y="721626"/>
                  </a:lnTo>
                  <a:cubicBezTo>
                    <a:pt x="199524" y="721626"/>
                    <a:pt x="169863" y="751336"/>
                    <a:pt x="169863" y="789535"/>
                  </a:cubicBezTo>
                  <a:cubicBezTo>
                    <a:pt x="169863" y="1468627"/>
                    <a:pt x="169863" y="1468627"/>
                    <a:pt x="169863" y="1468627"/>
                  </a:cubicBezTo>
                  <a:cubicBezTo>
                    <a:pt x="169863" y="1498337"/>
                    <a:pt x="186812" y="1523803"/>
                    <a:pt x="216472" y="1532292"/>
                  </a:cubicBezTo>
                  <a:cubicBezTo>
                    <a:pt x="322402" y="1557758"/>
                    <a:pt x="534261" y="1600201"/>
                    <a:pt x="741883" y="1600201"/>
                  </a:cubicBezTo>
                  <a:cubicBezTo>
                    <a:pt x="949505" y="1600201"/>
                    <a:pt x="1169838" y="1557758"/>
                    <a:pt x="1284242" y="1536536"/>
                  </a:cubicBezTo>
                  <a:cubicBezTo>
                    <a:pt x="1313902" y="1528048"/>
                    <a:pt x="1335088" y="1502582"/>
                    <a:pt x="1335088" y="1472871"/>
                  </a:cubicBezTo>
                  <a:cubicBezTo>
                    <a:pt x="1335088" y="789535"/>
                    <a:pt x="1335088" y="789535"/>
                    <a:pt x="1335088" y="789535"/>
                  </a:cubicBezTo>
                  <a:cubicBezTo>
                    <a:pt x="1335088" y="751336"/>
                    <a:pt x="1305428" y="721626"/>
                    <a:pt x="1271530" y="721626"/>
                  </a:cubicBezTo>
                  <a:cubicBezTo>
                    <a:pt x="1148652" y="721626"/>
                    <a:pt x="1148652" y="721626"/>
                    <a:pt x="1148652" y="721626"/>
                  </a:cubicBezTo>
                  <a:lnTo>
                    <a:pt x="1144231" y="720726"/>
                  </a:lnTo>
                  <a:lnTo>
                    <a:pt x="1010593" y="720726"/>
                  </a:lnTo>
                  <a:cubicBezTo>
                    <a:pt x="536578" y="720726"/>
                    <a:pt x="410173" y="720726"/>
                    <a:pt x="376466" y="720726"/>
                  </a:cubicBezTo>
                  <a:close/>
                  <a:moveTo>
                    <a:pt x="754594" y="169863"/>
                  </a:moveTo>
                  <a:cubicBezTo>
                    <a:pt x="652902" y="169863"/>
                    <a:pt x="576633" y="199573"/>
                    <a:pt x="525787" y="258994"/>
                  </a:cubicBezTo>
                  <a:cubicBezTo>
                    <a:pt x="474940" y="318415"/>
                    <a:pt x="449517" y="411790"/>
                    <a:pt x="449517" y="530631"/>
                  </a:cubicBezTo>
                  <a:lnTo>
                    <a:pt x="449517" y="550863"/>
                  </a:lnTo>
                  <a:lnTo>
                    <a:pt x="502295" y="550863"/>
                  </a:lnTo>
                  <a:cubicBezTo>
                    <a:pt x="803942" y="550863"/>
                    <a:pt x="964820" y="550863"/>
                    <a:pt x="1050621" y="550863"/>
                  </a:cubicBezTo>
                  <a:lnTo>
                    <a:pt x="1063909" y="550863"/>
                  </a:lnTo>
                  <a:lnTo>
                    <a:pt x="1063909" y="543895"/>
                  </a:lnTo>
                  <a:cubicBezTo>
                    <a:pt x="1063909" y="530631"/>
                    <a:pt x="1063909" y="530631"/>
                    <a:pt x="1063909" y="530631"/>
                  </a:cubicBezTo>
                  <a:cubicBezTo>
                    <a:pt x="1063909" y="411790"/>
                    <a:pt x="1038485" y="318415"/>
                    <a:pt x="987639" y="258994"/>
                  </a:cubicBezTo>
                  <a:cubicBezTo>
                    <a:pt x="932556" y="199573"/>
                    <a:pt x="860524" y="169863"/>
                    <a:pt x="754594" y="169863"/>
                  </a:cubicBezTo>
                  <a:close/>
                  <a:moveTo>
                    <a:pt x="754595" y="0"/>
                  </a:moveTo>
                  <a:cubicBezTo>
                    <a:pt x="911449" y="0"/>
                    <a:pt x="1030149" y="50937"/>
                    <a:pt x="1114935" y="148567"/>
                  </a:cubicBezTo>
                  <a:cubicBezTo>
                    <a:pt x="1195482" y="241951"/>
                    <a:pt x="1233635" y="369294"/>
                    <a:pt x="1233635" y="530595"/>
                  </a:cubicBezTo>
                  <a:cubicBezTo>
                    <a:pt x="1233635" y="551818"/>
                    <a:pt x="1233635" y="551818"/>
                    <a:pt x="1233635" y="551818"/>
                  </a:cubicBezTo>
                  <a:cubicBezTo>
                    <a:pt x="1271789" y="551818"/>
                    <a:pt x="1271789" y="551818"/>
                    <a:pt x="1271789" y="551818"/>
                  </a:cubicBezTo>
                  <a:cubicBezTo>
                    <a:pt x="1398968" y="551818"/>
                    <a:pt x="1504950" y="657937"/>
                    <a:pt x="1504950" y="789525"/>
                  </a:cubicBezTo>
                  <a:cubicBezTo>
                    <a:pt x="1504950" y="1472930"/>
                    <a:pt x="1504950" y="1472930"/>
                    <a:pt x="1504950" y="1472930"/>
                  </a:cubicBezTo>
                  <a:cubicBezTo>
                    <a:pt x="1504950" y="1583294"/>
                    <a:pt x="1428643" y="1676679"/>
                    <a:pt x="1322660" y="1702147"/>
                  </a:cubicBezTo>
                  <a:cubicBezTo>
                    <a:pt x="1199721" y="1727616"/>
                    <a:pt x="962320" y="1770063"/>
                    <a:pt x="741877" y="1770063"/>
                  </a:cubicBezTo>
                  <a:cubicBezTo>
                    <a:pt x="517194" y="1770063"/>
                    <a:pt x="292512" y="1723371"/>
                    <a:pt x="178051" y="1697902"/>
                  </a:cubicBezTo>
                  <a:cubicBezTo>
                    <a:pt x="72068" y="1672434"/>
                    <a:pt x="0" y="1574804"/>
                    <a:pt x="0" y="1468686"/>
                  </a:cubicBezTo>
                  <a:cubicBezTo>
                    <a:pt x="0" y="789525"/>
                    <a:pt x="0" y="789525"/>
                    <a:pt x="0" y="789525"/>
                  </a:cubicBezTo>
                  <a:cubicBezTo>
                    <a:pt x="0" y="657937"/>
                    <a:pt x="105983" y="551818"/>
                    <a:pt x="233162" y="551818"/>
                  </a:cubicBezTo>
                  <a:cubicBezTo>
                    <a:pt x="279794" y="551818"/>
                    <a:pt x="279794" y="551818"/>
                    <a:pt x="279794" y="551818"/>
                  </a:cubicBezTo>
                  <a:cubicBezTo>
                    <a:pt x="279794" y="530595"/>
                    <a:pt x="279794" y="530595"/>
                    <a:pt x="279794" y="530595"/>
                  </a:cubicBezTo>
                  <a:cubicBezTo>
                    <a:pt x="279794" y="369294"/>
                    <a:pt x="317947" y="241951"/>
                    <a:pt x="398494" y="148567"/>
                  </a:cubicBezTo>
                  <a:cubicBezTo>
                    <a:pt x="483280" y="50937"/>
                    <a:pt x="601980" y="0"/>
                    <a:pt x="75459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grpSp>
      <p:sp>
        <p:nvSpPr>
          <p:cNvPr id="402" name="TextBox 401">
            <a:extLst>
              <a:ext uri="{FF2B5EF4-FFF2-40B4-BE49-F238E27FC236}">
                <a16:creationId xmlns:a16="http://schemas.microsoft.com/office/drawing/2014/main" id="{58145AB0-7A27-4148-9BEB-BD7021EE38FB}"/>
              </a:ext>
            </a:extLst>
          </p:cNvPr>
          <p:cNvSpPr txBox="1"/>
          <p:nvPr/>
        </p:nvSpPr>
        <p:spPr>
          <a:xfrm>
            <a:off x="4801420" y="4882779"/>
            <a:ext cx="2609783" cy="1015663"/>
          </a:xfrm>
          <a:prstGeom prst="rect">
            <a:avLst/>
          </a:prstGeom>
          <a:noFill/>
        </p:spPr>
        <p:txBody>
          <a:bodyPr wrap="square" rtlCol="0">
            <a:sp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Embed security </a:t>
            </a:r>
            <a:r>
              <a:rPr kumimoji="0" lang="en-US" sz="2000" b="0"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in your </a:t>
            </a:r>
            <a:r>
              <a:rPr kumimoji="0" lang="en-US" sz="2000" b="1" i="0" u="none" strike="noStrike" kern="1200" cap="none" spc="0" normalizeH="0" baseline="0" noProof="0">
                <a:ln>
                  <a:noFill/>
                </a:ln>
                <a:solidFill>
                  <a:srgbClr val="9477E2"/>
                </a:solidFill>
                <a:effectLst/>
                <a:uLnTx/>
                <a:uFillTx/>
                <a:latin typeface="Helvetica" pitchFamily="2" charset="0"/>
                <a:ea typeface="Roboto Medium" panose="02000000000000000000" pitchFamily="2" charset="0"/>
                <a:cs typeface="Segoe UI" panose="020B0502040204020203" pitchFamily="34" charset="0"/>
              </a:rPr>
              <a:t>developer workflow</a:t>
            </a:r>
          </a:p>
        </p:txBody>
      </p:sp>
    </p:spTree>
    <p:custDataLst>
      <p:tags r:id="rId1"/>
    </p:custDataLst>
    <p:extLst>
      <p:ext uri="{BB962C8B-B14F-4D97-AF65-F5344CB8AC3E}">
        <p14:creationId xmlns:p14="http://schemas.microsoft.com/office/powerpoint/2010/main" val="275038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416567D8-D756-4E3E-9796-7DC5FBFC1614}"/>
              </a:ext>
              <a:ext uri="{C183D7F6-B498-43B3-948B-1728B52AA6E4}">
                <adec:decorative xmlns:adec="http://schemas.microsoft.com/office/drawing/2017/decorative" val="1"/>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1" r="40598" b="13526"/>
          <a:stretch/>
        </p:blipFill>
        <p:spPr>
          <a:xfrm flipH="1" flipV="1">
            <a:off x="-5094225" y="-2309605"/>
            <a:ext cx="6776194" cy="9167599"/>
          </a:xfrm>
          <a:prstGeom prst="rect">
            <a:avLst/>
          </a:prstGeom>
        </p:spPr>
      </p:pic>
      <p:grpSp>
        <p:nvGrpSpPr>
          <p:cNvPr id="5" name="Group 4">
            <a:extLst>
              <a:ext uri="{FF2B5EF4-FFF2-40B4-BE49-F238E27FC236}">
                <a16:creationId xmlns:a16="http://schemas.microsoft.com/office/drawing/2014/main" id="{D4389343-9925-4E29-BB45-9072B4EFBFD5}"/>
              </a:ext>
              <a:ext uri="{C183D7F6-B498-43B3-948B-1728B52AA6E4}">
                <adec:decorative xmlns:adec="http://schemas.microsoft.com/office/drawing/2017/decorative" val="1"/>
              </a:ext>
            </a:extLst>
          </p:cNvPr>
          <p:cNvGrpSpPr/>
          <p:nvPr/>
        </p:nvGrpSpPr>
        <p:grpSpPr>
          <a:xfrm>
            <a:off x="4087456" y="0"/>
            <a:ext cx="8095119" cy="6858001"/>
            <a:chOff x="4087456" y="0"/>
            <a:chExt cx="8095119" cy="6858001"/>
          </a:xfrm>
        </p:grpSpPr>
        <p:sp>
          <p:nvSpPr>
            <p:cNvPr id="38" name="Freeform: Shape 37">
              <a:extLst>
                <a:ext uri="{FF2B5EF4-FFF2-40B4-BE49-F238E27FC236}">
                  <a16:creationId xmlns:a16="http://schemas.microsoft.com/office/drawing/2014/main" id="{C715D458-80EE-4771-810A-DCA1348CFA9F}"/>
                </a:ext>
                <a:ext uri="{C183D7F6-B498-43B3-948B-1728B52AA6E4}">
                  <adec:decorative xmlns:adec="http://schemas.microsoft.com/office/drawing/2017/decorative" val="1"/>
                </a:ext>
              </a:extLst>
            </p:cNvPr>
            <p:cNvSpPr/>
            <p:nvPr/>
          </p:nvSpPr>
          <p:spPr>
            <a:xfrm rot="16200000">
              <a:off x="5801956" y="-1714500"/>
              <a:ext cx="3429001" cy="6858001"/>
            </a:xfrm>
            <a:custGeom>
              <a:avLst/>
              <a:gdLst>
                <a:gd name="connsiteX0" fmla="*/ 5486400 w 5486402"/>
                <a:gd name="connsiteY0" fmla="*/ 0 h 10972802"/>
                <a:gd name="connsiteX1" fmla="*/ 5486402 w 5486402"/>
                <a:gd name="connsiteY1" fmla="*/ 0 h 10972802"/>
                <a:gd name="connsiteX2" fmla="*/ 5486402 w 5486402"/>
                <a:gd name="connsiteY2" fmla="*/ 10972802 h 10972802"/>
                <a:gd name="connsiteX3" fmla="*/ 5486400 w 5486402"/>
                <a:gd name="connsiteY3" fmla="*/ 10972802 h 10972802"/>
                <a:gd name="connsiteX4" fmla="*/ 0 w 5486402"/>
                <a:gd name="connsiteY4" fmla="*/ 5486401 h 10972802"/>
                <a:gd name="connsiteX5" fmla="*/ 5486400 w 5486402"/>
                <a:gd name="connsiteY5" fmla="*/ 0 h 1097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6402" h="10972802">
                  <a:moveTo>
                    <a:pt x="5486400" y="0"/>
                  </a:moveTo>
                  <a:lnTo>
                    <a:pt x="5486402" y="0"/>
                  </a:lnTo>
                  <a:lnTo>
                    <a:pt x="5486402" y="10972802"/>
                  </a:lnTo>
                  <a:lnTo>
                    <a:pt x="5486400" y="10972802"/>
                  </a:lnTo>
                  <a:cubicBezTo>
                    <a:pt x="2456344" y="10972802"/>
                    <a:pt x="0" y="8516457"/>
                    <a:pt x="0" y="5486401"/>
                  </a:cubicBezTo>
                  <a:cubicBezTo>
                    <a:pt x="0" y="2456347"/>
                    <a:pt x="2456344" y="0"/>
                    <a:pt x="5486400" y="0"/>
                  </a:cubicBezTo>
                  <a:close/>
                </a:path>
              </a:pathLst>
            </a:custGeom>
            <a:solidFill>
              <a:schemeClr val="accent3">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white"/>
                </a:solidFill>
                <a:effectLst/>
                <a:uLnTx/>
                <a:uFillTx/>
                <a:latin typeface="Helvetica"/>
                <a:ea typeface="+mn-ea"/>
                <a:cs typeface="+mn-cs"/>
              </a:endParaRPr>
            </a:p>
          </p:txBody>
        </p:sp>
        <p:sp>
          <p:nvSpPr>
            <p:cNvPr id="39" name="Freeform: Shape 38">
              <a:extLst>
                <a:ext uri="{FF2B5EF4-FFF2-40B4-BE49-F238E27FC236}">
                  <a16:creationId xmlns:a16="http://schemas.microsoft.com/office/drawing/2014/main" id="{FAA98FEB-3F5F-4F00-A438-B72D4F3A5DD8}"/>
                </a:ext>
                <a:ext uri="{C183D7F6-B498-43B3-948B-1728B52AA6E4}">
                  <adec:decorative xmlns:adec="http://schemas.microsoft.com/office/drawing/2017/decorative" val="1"/>
                </a:ext>
              </a:extLst>
            </p:cNvPr>
            <p:cNvSpPr/>
            <p:nvPr/>
          </p:nvSpPr>
          <p:spPr>
            <a:xfrm rot="16200000">
              <a:off x="9159876" y="3835302"/>
              <a:ext cx="545806" cy="5499592"/>
            </a:xfrm>
            <a:custGeom>
              <a:avLst/>
              <a:gdLst>
                <a:gd name="connsiteX0" fmla="*/ 873289 w 873289"/>
                <a:gd name="connsiteY0" fmla="*/ 6390211 h 8799347"/>
                <a:gd name="connsiteX1" fmla="*/ 873289 w 873289"/>
                <a:gd name="connsiteY1" fmla="*/ 8799347 h 8799347"/>
                <a:gd name="connsiteX2" fmla="*/ 0 w 873289"/>
                <a:gd name="connsiteY2" fmla="*/ 8799347 h 8799347"/>
                <a:gd name="connsiteX3" fmla="*/ 1 w 873289"/>
                <a:gd name="connsiteY3" fmla="*/ 0 h 8799347"/>
                <a:gd name="connsiteX4" fmla="*/ 120198 w 873289"/>
                <a:gd name="connsiteY4" fmla="*/ 109265 h 8799347"/>
                <a:gd name="connsiteX5" fmla="*/ 873288 w 873289"/>
                <a:gd name="connsiteY5" fmla="*/ 1927383 h 879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3289" h="8799347">
                  <a:moveTo>
                    <a:pt x="873289" y="6390211"/>
                  </a:moveTo>
                  <a:lnTo>
                    <a:pt x="873289" y="8799347"/>
                  </a:lnTo>
                  <a:lnTo>
                    <a:pt x="0" y="8799347"/>
                  </a:lnTo>
                  <a:lnTo>
                    <a:pt x="1" y="0"/>
                  </a:lnTo>
                  <a:lnTo>
                    <a:pt x="120198" y="109265"/>
                  </a:lnTo>
                  <a:cubicBezTo>
                    <a:pt x="585457" y="574603"/>
                    <a:pt x="873232" y="1217391"/>
                    <a:pt x="873288" y="19273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white"/>
                </a:solidFill>
                <a:effectLst/>
                <a:uLnTx/>
                <a:uFillTx/>
                <a:latin typeface="Helvetica"/>
                <a:ea typeface="+mn-ea"/>
                <a:cs typeface="+mn-cs"/>
              </a:endParaRPr>
            </a:p>
          </p:txBody>
        </p:sp>
        <p:sp>
          <p:nvSpPr>
            <p:cNvPr id="40" name="Freeform: Shape 39">
              <a:extLst>
                <a:ext uri="{FF2B5EF4-FFF2-40B4-BE49-F238E27FC236}">
                  <a16:creationId xmlns:a16="http://schemas.microsoft.com/office/drawing/2014/main" id="{EB7F8DE1-7682-4E91-A43D-A81C0FC35E0F}"/>
                </a:ext>
                <a:ext uri="{C183D7F6-B498-43B3-948B-1728B52AA6E4}">
                  <adec:decorative xmlns:adec="http://schemas.microsoft.com/office/drawing/2017/decorative" val="1"/>
                </a:ext>
              </a:extLst>
            </p:cNvPr>
            <p:cNvSpPr/>
            <p:nvPr/>
          </p:nvSpPr>
          <p:spPr>
            <a:xfrm rot="16200000">
              <a:off x="7768239" y="2443664"/>
              <a:ext cx="1898854" cy="6929818"/>
            </a:xfrm>
            <a:custGeom>
              <a:avLst/>
              <a:gdLst>
                <a:gd name="connsiteX0" fmla="*/ 3038167 w 3038167"/>
                <a:gd name="connsiteY0" fmla="*/ 2571531 h 11087709"/>
                <a:gd name="connsiteX1" fmla="*/ 3038167 w 3038167"/>
                <a:gd name="connsiteY1" fmla="*/ 7034359 h 11087709"/>
                <a:gd name="connsiteX2" fmla="*/ 3038167 w 3038167"/>
                <a:gd name="connsiteY2" fmla="*/ 11087709 h 11087709"/>
                <a:gd name="connsiteX3" fmla="*/ 0 w 3038167"/>
                <a:gd name="connsiteY3" fmla="*/ 11087709 h 11087709"/>
                <a:gd name="connsiteX4" fmla="*/ 1 w 3038167"/>
                <a:gd name="connsiteY4" fmla="*/ 44475 h 11087709"/>
                <a:gd name="connsiteX5" fmla="*/ 204169 w 3038167"/>
                <a:gd name="connsiteY5" fmla="*/ 13300 h 11087709"/>
                <a:gd name="connsiteX6" fmla="*/ 467083 w 3038167"/>
                <a:gd name="connsiteY6" fmla="*/ 0 h 11087709"/>
                <a:gd name="connsiteX7" fmla="*/ 3038167 w 3038167"/>
                <a:gd name="connsiteY7" fmla="*/ 2571531 h 1108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8167" h="11087709">
                  <a:moveTo>
                    <a:pt x="3038167" y="2571531"/>
                  </a:moveTo>
                  <a:lnTo>
                    <a:pt x="3038167" y="7034359"/>
                  </a:lnTo>
                  <a:lnTo>
                    <a:pt x="3038167" y="11087709"/>
                  </a:lnTo>
                  <a:lnTo>
                    <a:pt x="0" y="11087709"/>
                  </a:lnTo>
                  <a:lnTo>
                    <a:pt x="1" y="44475"/>
                  </a:lnTo>
                  <a:lnTo>
                    <a:pt x="204169" y="13300"/>
                  </a:lnTo>
                  <a:cubicBezTo>
                    <a:pt x="290613" y="4514"/>
                    <a:pt x="378323" y="9"/>
                    <a:pt x="467083" y="0"/>
                  </a:cubicBezTo>
                  <a:cubicBezTo>
                    <a:pt x="1887067" y="379"/>
                    <a:pt x="3038056" y="1151547"/>
                    <a:pt x="3038167" y="2571531"/>
                  </a:cubicBezTo>
                  <a:close/>
                </a:path>
              </a:pathLst>
            </a:cu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white"/>
                </a:solidFill>
                <a:effectLst/>
                <a:uLnTx/>
                <a:uFillTx/>
                <a:latin typeface="Helvetica"/>
                <a:ea typeface="+mn-ea"/>
                <a:cs typeface="+mn-cs"/>
              </a:endParaRPr>
            </a:p>
          </p:txBody>
        </p:sp>
        <p:sp>
          <p:nvSpPr>
            <p:cNvPr id="41" name="Freeform: Shape 40">
              <a:extLst>
                <a:ext uri="{FF2B5EF4-FFF2-40B4-BE49-F238E27FC236}">
                  <a16:creationId xmlns:a16="http://schemas.microsoft.com/office/drawing/2014/main" id="{DA4B5773-5636-4345-8992-EA6A9AF6FD87}"/>
                </a:ext>
                <a:ext uri="{C183D7F6-B498-43B3-948B-1728B52AA6E4}">
                  <adec:decorative xmlns:adec="http://schemas.microsoft.com/office/drawing/2017/decorative" val="1"/>
                </a:ext>
              </a:extLst>
            </p:cNvPr>
            <p:cNvSpPr/>
            <p:nvPr/>
          </p:nvSpPr>
          <p:spPr>
            <a:xfrm flipH="1">
              <a:off x="7622462" y="0"/>
              <a:ext cx="4560113" cy="4322535"/>
            </a:xfrm>
            <a:custGeom>
              <a:avLst/>
              <a:gdLst>
                <a:gd name="connsiteX0" fmla="*/ 6903251 w 7296181"/>
                <a:gd name="connsiteY0" fmla="*/ 0 h 6916056"/>
                <a:gd name="connsiteX1" fmla="*/ 0 w 7296181"/>
                <a:gd name="connsiteY1" fmla="*/ 0 h 6916056"/>
                <a:gd name="connsiteX2" fmla="*/ 0 w 7296181"/>
                <a:gd name="connsiteY2" fmla="*/ 6335454 h 6916056"/>
                <a:gd name="connsiteX3" fmla="*/ 222874 w 7296181"/>
                <a:gd name="connsiteY3" fmla="*/ 6451366 h 6916056"/>
                <a:gd name="connsiteX4" fmla="*/ 2323998 w 7296181"/>
                <a:gd name="connsiteY4" fmla="*/ 6916056 h 6916056"/>
                <a:gd name="connsiteX5" fmla="*/ 7296181 w 7296181"/>
                <a:gd name="connsiteY5" fmla="*/ 1941264 h 6916056"/>
                <a:gd name="connsiteX6" fmla="*/ 6905442 w 7296181"/>
                <a:gd name="connsiteY6" fmla="*/ 4850 h 691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6181" h="6916056">
                  <a:moveTo>
                    <a:pt x="6903251" y="0"/>
                  </a:moveTo>
                  <a:lnTo>
                    <a:pt x="0" y="0"/>
                  </a:lnTo>
                  <a:lnTo>
                    <a:pt x="0" y="6335454"/>
                  </a:lnTo>
                  <a:lnTo>
                    <a:pt x="222874" y="6451366"/>
                  </a:lnTo>
                  <a:cubicBezTo>
                    <a:pt x="861120" y="6749526"/>
                    <a:pt x="1573120" y="6916056"/>
                    <a:pt x="2323998" y="6916056"/>
                  </a:cubicBezTo>
                  <a:cubicBezTo>
                    <a:pt x="5070058" y="6916056"/>
                    <a:pt x="7296181" y="4688767"/>
                    <a:pt x="7296181" y="1941264"/>
                  </a:cubicBezTo>
                  <a:cubicBezTo>
                    <a:pt x="7296181" y="1254389"/>
                    <a:pt x="7157049" y="600026"/>
                    <a:pt x="6905442" y="4850"/>
                  </a:cubicBezTo>
                  <a:close/>
                </a:path>
              </a:pathLst>
            </a:custGeom>
            <a:gradFill flip="none" rotWithShape="1">
              <a:gsLst>
                <a:gs pos="1000">
                  <a:schemeClr val="accent4"/>
                </a:gs>
                <a:gs pos="100000">
                  <a:schemeClr val="accent2">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white"/>
                </a:solidFill>
                <a:effectLst/>
                <a:uLnTx/>
                <a:uFillTx/>
                <a:latin typeface="Helvetica"/>
                <a:ea typeface="+mn-ea"/>
                <a:cs typeface="+mn-cs"/>
              </a:endParaRPr>
            </a:p>
          </p:txBody>
        </p:sp>
        <p:sp>
          <p:nvSpPr>
            <p:cNvPr id="42" name="Freeform: Shape 41">
              <a:extLst>
                <a:ext uri="{FF2B5EF4-FFF2-40B4-BE49-F238E27FC236}">
                  <a16:creationId xmlns:a16="http://schemas.microsoft.com/office/drawing/2014/main" id="{0D09F0AD-6D69-4296-B8F2-A58C6C0D9274}"/>
                </a:ext>
                <a:ext uri="{C183D7F6-B498-43B3-948B-1728B52AA6E4}">
                  <adec:decorative xmlns:adec="http://schemas.microsoft.com/office/drawing/2017/decorative" val="1"/>
                </a:ext>
              </a:extLst>
            </p:cNvPr>
            <p:cNvSpPr/>
            <p:nvPr/>
          </p:nvSpPr>
          <p:spPr>
            <a:xfrm flipH="1">
              <a:off x="5968644" y="0"/>
              <a:ext cx="6213930" cy="5974721"/>
            </a:xfrm>
            <a:custGeom>
              <a:avLst/>
              <a:gdLst>
                <a:gd name="connsiteX0" fmla="*/ 9691842 w 9942288"/>
                <a:gd name="connsiteY0" fmla="*/ 0 h 9559554"/>
                <a:gd name="connsiteX1" fmla="*/ 6905766 w 9942288"/>
                <a:gd name="connsiteY1" fmla="*/ 0 h 9559554"/>
                <a:gd name="connsiteX2" fmla="*/ 6907940 w 9942288"/>
                <a:gd name="connsiteY2" fmla="*/ 4810 h 9559554"/>
                <a:gd name="connsiteX3" fmla="*/ 7298892 w 9942288"/>
                <a:gd name="connsiteY3" fmla="*/ 1941264 h 9559554"/>
                <a:gd name="connsiteX4" fmla="*/ 2323998 w 9942288"/>
                <a:gd name="connsiteY4" fmla="*/ 6916159 h 9559554"/>
                <a:gd name="connsiteX5" fmla="*/ 221730 w 9942288"/>
                <a:gd name="connsiteY5" fmla="*/ 6451459 h 9559554"/>
                <a:gd name="connsiteX6" fmla="*/ 0 w 9942288"/>
                <a:gd name="connsiteY6" fmla="*/ 6336204 h 9559554"/>
                <a:gd name="connsiteX7" fmla="*/ 0 w 9942288"/>
                <a:gd name="connsiteY7" fmla="*/ 9195502 h 9559554"/>
                <a:gd name="connsiteX8" fmla="*/ 193262 w 9942288"/>
                <a:gd name="connsiteY8" fmla="*/ 9257579 h 9559554"/>
                <a:gd name="connsiteX9" fmla="*/ 2323998 w 9942288"/>
                <a:gd name="connsiteY9" fmla="*/ 9559554 h 9559554"/>
                <a:gd name="connsiteX10" fmla="*/ 9942288 w 9942288"/>
                <a:gd name="connsiteY10" fmla="*/ 1941264 h 9559554"/>
                <a:gd name="connsiteX11" fmla="*/ 9702444 w 9942288"/>
                <a:gd name="connsiteY11" fmla="*/ 37335 h 955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42288" h="9559554">
                  <a:moveTo>
                    <a:pt x="9691842" y="0"/>
                  </a:moveTo>
                  <a:lnTo>
                    <a:pt x="6905766" y="0"/>
                  </a:lnTo>
                  <a:lnTo>
                    <a:pt x="6907940" y="4810"/>
                  </a:lnTo>
                  <a:cubicBezTo>
                    <a:pt x="7159684" y="599998"/>
                    <a:pt x="7298892" y="1254374"/>
                    <a:pt x="7298892" y="1941264"/>
                  </a:cubicBezTo>
                  <a:cubicBezTo>
                    <a:pt x="7298892" y="4688824"/>
                    <a:pt x="5071556" y="6916159"/>
                    <a:pt x="2323998" y="6916159"/>
                  </a:cubicBezTo>
                  <a:cubicBezTo>
                    <a:pt x="1572712" y="6916159"/>
                    <a:pt x="860322" y="6749626"/>
                    <a:pt x="221730" y="6451459"/>
                  </a:cubicBezTo>
                  <a:lnTo>
                    <a:pt x="0" y="6336204"/>
                  </a:lnTo>
                  <a:lnTo>
                    <a:pt x="0" y="9195502"/>
                  </a:lnTo>
                  <a:lnTo>
                    <a:pt x="193262" y="9257579"/>
                  </a:lnTo>
                  <a:cubicBezTo>
                    <a:pt x="869428" y="9454163"/>
                    <a:pt x="1584406" y="9559554"/>
                    <a:pt x="2323998" y="9559554"/>
                  </a:cubicBezTo>
                  <a:cubicBezTo>
                    <a:pt x="6531463" y="9559554"/>
                    <a:pt x="9942288" y="6148729"/>
                    <a:pt x="9942288" y="1941264"/>
                  </a:cubicBezTo>
                  <a:cubicBezTo>
                    <a:pt x="9942288" y="1283848"/>
                    <a:pt x="9859016" y="645880"/>
                    <a:pt x="9702444" y="37335"/>
                  </a:cubicBezTo>
                  <a:close/>
                </a:path>
              </a:pathLst>
            </a:custGeom>
            <a:gradFill flip="none" rotWithShape="1">
              <a:gsLst>
                <a:gs pos="100000">
                  <a:srgbClr val="D59DFF">
                    <a:alpha val="42745"/>
                  </a:srgbClr>
                </a:gs>
                <a:gs pos="0">
                  <a:srgbClr val="1F9CF0">
                    <a:alpha val="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43" name="Freeform: Shape 42">
              <a:extLst>
                <a:ext uri="{FF2B5EF4-FFF2-40B4-BE49-F238E27FC236}">
                  <a16:creationId xmlns:a16="http://schemas.microsoft.com/office/drawing/2014/main" id="{322BA5A4-E160-4E25-A014-C04452B8AD8A}"/>
                </a:ext>
                <a:ext uri="{C183D7F6-B498-43B3-948B-1728B52AA6E4}">
                  <adec:decorative xmlns:adec="http://schemas.microsoft.com/office/drawing/2017/decorative" val="1"/>
                </a:ext>
              </a:extLst>
            </p:cNvPr>
            <p:cNvSpPr/>
            <p:nvPr/>
          </p:nvSpPr>
          <p:spPr>
            <a:xfrm flipH="1">
              <a:off x="9943848" y="4347869"/>
              <a:ext cx="2238727" cy="1630769"/>
            </a:xfrm>
            <a:custGeom>
              <a:avLst/>
              <a:gdLst>
                <a:gd name="connsiteX0" fmla="*/ 89714 w 3581963"/>
                <a:gd name="connsiteY0" fmla="*/ 0 h 2609230"/>
                <a:gd name="connsiteX1" fmla="*/ 0 w 3581963"/>
                <a:gd name="connsiteY1" fmla="*/ 2980 h 2609230"/>
                <a:gd name="connsiteX2" fmla="*/ 0 w 3581963"/>
                <a:gd name="connsiteY2" fmla="*/ 2244363 h 2609230"/>
                <a:gd name="connsiteX3" fmla="*/ 206412 w 3581963"/>
                <a:gd name="connsiteY3" fmla="*/ 2310257 h 2609230"/>
                <a:gd name="connsiteX4" fmla="*/ 2328218 w 3581963"/>
                <a:gd name="connsiteY4" fmla="*/ 2609230 h 2609230"/>
                <a:gd name="connsiteX5" fmla="*/ 3491238 w 3581963"/>
                <a:gd name="connsiteY5" fmla="*/ 2521131 h 2609230"/>
                <a:gd name="connsiteX6" fmla="*/ 3581963 w 3581963"/>
                <a:gd name="connsiteY6" fmla="*/ 2504910 h 2609230"/>
                <a:gd name="connsiteX7" fmla="*/ 3491536 w 3581963"/>
                <a:gd name="connsiteY7" fmla="*/ 2257555 h 2609230"/>
                <a:gd name="connsiteX8" fmla="*/ 89714 w 3581963"/>
                <a:gd name="connsiteY8" fmla="*/ 0 h 260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1963" h="2609230">
                  <a:moveTo>
                    <a:pt x="89714" y="0"/>
                  </a:moveTo>
                  <a:lnTo>
                    <a:pt x="0" y="2980"/>
                  </a:lnTo>
                  <a:lnTo>
                    <a:pt x="0" y="2244363"/>
                  </a:lnTo>
                  <a:lnTo>
                    <a:pt x="206412" y="2310257"/>
                  </a:lnTo>
                  <a:cubicBezTo>
                    <a:pt x="880054" y="2504921"/>
                    <a:pt x="1591970" y="2609230"/>
                    <a:pt x="2328218" y="2609230"/>
                  </a:cubicBezTo>
                  <a:cubicBezTo>
                    <a:pt x="2723630" y="2609230"/>
                    <a:pt x="3112023" y="2579144"/>
                    <a:pt x="3491238" y="2521131"/>
                  </a:cubicBezTo>
                  <a:lnTo>
                    <a:pt x="3581963" y="2504910"/>
                  </a:lnTo>
                  <a:lnTo>
                    <a:pt x="3491536" y="2257555"/>
                  </a:lnTo>
                  <a:cubicBezTo>
                    <a:pt x="2931067" y="930885"/>
                    <a:pt x="1618970" y="0"/>
                    <a:pt x="8971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44" name="Freeform: Shape 43">
              <a:extLst>
                <a:ext uri="{FF2B5EF4-FFF2-40B4-BE49-F238E27FC236}">
                  <a16:creationId xmlns:a16="http://schemas.microsoft.com/office/drawing/2014/main" id="{B8E448FA-14ED-4BAE-A08A-A84957A7C10F}"/>
                </a:ext>
                <a:ext uri="{C183D7F6-B498-43B3-948B-1728B52AA6E4}">
                  <adec:decorative xmlns:adec="http://schemas.microsoft.com/office/drawing/2017/decorative" val="1"/>
                </a:ext>
              </a:extLst>
            </p:cNvPr>
            <p:cNvSpPr/>
            <p:nvPr/>
          </p:nvSpPr>
          <p:spPr>
            <a:xfrm flipH="1">
              <a:off x="9832921" y="5747217"/>
              <a:ext cx="2349654" cy="706999"/>
            </a:xfrm>
            <a:custGeom>
              <a:avLst/>
              <a:gdLst>
                <a:gd name="connsiteX0" fmla="*/ 0 w 3759447"/>
                <a:gd name="connsiteY0" fmla="*/ 0 h 1131199"/>
                <a:gd name="connsiteX1" fmla="*/ 0 w 3759447"/>
                <a:gd name="connsiteY1" fmla="*/ 1131199 h 1131199"/>
                <a:gd name="connsiteX2" fmla="*/ 3759447 w 3759447"/>
                <a:gd name="connsiteY2" fmla="*/ 1131199 h 1131199"/>
                <a:gd name="connsiteX3" fmla="*/ 3731475 w 3759447"/>
                <a:gd name="connsiteY3" fmla="*/ 886303 h 1131199"/>
                <a:gd name="connsiteX4" fmla="*/ 3608332 w 3759447"/>
                <a:gd name="connsiteY4" fmla="*/ 351980 h 1131199"/>
                <a:gd name="connsiteX5" fmla="*/ 3574692 w 3759447"/>
                <a:gd name="connsiteY5" fmla="*/ 260066 h 1131199"/>
                <a:gd name="connsiteX6" fmla="*/ 3484187 w 3759447"/>
                <a:gd name="connsiteY6" fmla="*/ 276228 h 1131199"/>
                <a:gd name="connsiteX7" fmla="*/ 2323998 w 3759447"/>
                <a:gd name="connsiteY7" fmla="*/ 364009 h 1131199"/>
                <a:gd name="connsiteX8" fmla="*/ 207354 w 3759447"/>
                <a:gd name="connsiteY8" fmla="*/ 66117 h 11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447" h="1131199">
                  <a:moveTo>
                    <a:pt x="0" y="0"/>
                  </a:moveTo>
                  <a:lnTo>
                    <a:pt x="0" y="1131199"/>
                  </a:lnTo>
                  <a:lnTo>
                    <a:pt x="3759447" y="1131199"/>
                  </a:lnTo>
                  <a:lnTo>
                    <a:pt x="3731475" y="886303"/>
                  </a:lnTo>
                  <a:cubicBezTo>
                    <a:pt x="3703532" y="703423"/>
                    <a:pt x="3662138" y="524968"/>
                    <a:pt x="3608332" y="351980"/>
                  </a:cubicBezTo>
                  <a:lnTo>
                    <a:pt x="3574692" y="260066"/>
                  </a:lnTo>
                  <a:lnTo>
                    <a:pt x="3484187" y="276228"/>
                  </a:lnTo>
                  <a:cubicBezTo>
                    <a:pt x="3105895" y="334031"/>
                    <a:pt x="2718448" y="364009"/>
                    <a:pt x="2323998" y="364009"/>
                  </a:cubicBezTo>
                  <a:cubicBezTo>
                    <a:pt x="1589540" y="364009"/>
                    <a:pt x="879358" y="260077"/>
                    <a:pt x="207354" y="66117"/>
                  </a:cubicBezTo>
                  <a:close/>
                </a:path>
              </a:pathLst>
            </a:custGeom>
            <a:gradFill flip="none" rotWithShape="1">
              <a:gsLst>
                <a:gs pos="100000">
                  <a:srgbClr val="D59DFF">
                    <a:alpha val="42745"/>
                  </a:srgbClr>
                </a:gs>
                <a:gs pos="0">
                  <a:srgbClr val="1F9CF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45" name="Freeform: Shape 44">
              <a:extLst>
                <a:ext uri="{FF2B5EF4-FFF2-40B4-BE49-F238E27FC236}">
                  <a16:creationId xmlns:a16="http://schemas.microsoft.com/office/drawing/2014/main" id="{0A88024C-FFA2-49F7-B9AC-D9193F010679}"/>
                </a:ext>
                <a:ext uri="{C183D7F6-B498-43B3-948B-1728B52AA6E4}">
                  <adec:decorative xmlns:adec="http://schemas.microsoft.com/office/drawing/2017/decorative" val="1"/>
                </a:ext>
              </a:extLst>
            </p:cNvPr>
            <p:cNvSpPr/>
            <p:nvPr/>
          </p:nvSpPr>
          <p:spPr>
            <a:xfrm flipH="1">
              <a:off x="9837634" y="6315206"/>
              <a:ext cx="2344940" cy="542794"/>
            </a:xfrm>
            <a:custGeom>
              <a:avLst/>
              <a:gdLst>
                <a:gd name="connsiteX0" fmla="*/ 2122262 w 3751904"/>
                <a:gd name="connsiteY0" fmla="*/ 0 h 868471"/>
                <a:gd name="connsiteX1" fmla="*/ 0 w 3751904"/>
                <a:gd name="connsiteY1" fmla="*/ 0 h 868471"/>
                <a:gd name="connsiteX2" fmla="*/ 0 w 3751904"/>
                <a:gd name="connsiteY2" fmla="*/ 868471 h 868471"/>
                <a:gd name="connsiteX3" fmla="*/ 3710427 w 3751904"/>
                <a:gd name="connsiteY3" fmla="*/ 868471 h 868471"/>
                <a:gd name="connsiteX4" fmla="*/ 3741165 w 3751904"/>
                <a:gd name="connsiteY4" fmla="*/ 599355 h 868471"/>
                <a:gd name="connsiteX5" fmla="*/ 3751904 w 3751904"/>
                <a:gd name="connsiteY5" fmla="*/ 315986 h 868471"/>
                <a:gd name="connsiteX6" fmla="*/ 3741165 w 3751904"/>
                <a:gd name="connsiteY6" fmla="*/ 32617 h 868471"/>
                <a:gd name="connsiteX7" fmla="*/ 3737440 w 3751904"/>
                <a:gd name="connsiteY7" fmla="*/ 2 h 868471"/>
                <a:gd name="connsiteX8" fmla="*/ 2122262 w 3751904"/>
                <a:gd name="connsiteY8" fmla="*/ 2 h 86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1904" h="868471">
                  <a:moveTo>
                    <a:pt x="2122262" y="0"/>
                  </a:moveTo>
                  <a:lnTo>
                    <a:pt x="0" y="0"/>
                  </a:lnTo>
                  <a:lnTo>
                    <a:pt x="0" y="868471"/>
                  </a:lnTo>
                  <a:lnTo>
                    <a:pt x="3710427" y="868471"/>
                  </a:lnTo>
                  <a:lnTo>
                    <a:pt x="3741165" y="599355"/>
                  </a:lnTo>
                  <a:cubicBezTo>
                    <a:pt x="3748281" y="505832"/>
                    <a:pt x="3751904" y="411332"/>
                    <a:pt x="3751904" y="315986"/>
                  </a:cubicBezTo>
                  <a:cubicBezTo>
                    <a:pt x="3751904" y="220640"/>
                    <a:pt x="3748281" y="126140"/>
                    <a:pt x="3741165" y="32617"/>
                  </a:cubicBezTo>
                  <a:lnTo>
                    <a:pt x="3737440" y="2"/>
                  </a:lnTo>
                  <a:lnTo>
                    <a:pt x="2122262" y="2"/>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46" name="Oval 45">
              <a:extLst>
                <a:ext uri="{FF2B5EF4-FFF2-40B4-BE49-F238E27FC236}">
                  <a16:creationId xmlns:a16="http://schemas.microsoft.com/office/drawing/2014/main" id="{AD84113C-87E5-447A-91EA-D3A248EBB5A8}"/>
                </a:ext>
                <a:ext uri="{C183D7F6-B498-43B3-948B-1728B52AA6E4}">
                  <adec:decorative xmlns:adec="http://schemas.microsoft.com/office/drawing/2017/decorative" val="1"/>
                </a:ext>
              </a:extLst>
            </p:cNvPr>
            <p:cNvSpPr/>
            <p:nvPr/>
          </p:nvSpPr>
          <p:spPr>
            <a:xfrm>
              <a:off x="9196061" y="3565845"/>
              <a:ext cx="1079921" cy="1079921"/>
            </a:xfrm>
            <a:prstGeom prst="ellipse">
              <a:avLst/>
            </a:prstGeom>
            <a:gradFill>
              <a:gsLst>
                <a:gs pos="0">
                  <a:srgbClr val="007ACC"/>
                </a:gs>
                <a:gs pos="100000">
                  <a:srgbClr val="161828">
                    <a:alpha val="55576"/>
                  </a:srgbClr>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47" name="Group 46">
              <a:extLst>
                <a:ext uri="{FF2B5EF4-FFF2-40B4-BE49-F238E27FC236}">
                  <a16:creationId xmlns:a16="http://schemas.microsoft.com/office/drawing/2014/main" id="{34866F5D-95F3-4939-856C-655DD8AFCCF8}"/>
                </a:ext>
                <a:ext uri="{C183D7F6-B498-43B3-948B-1728B52AA6E4}">
                  <adec:decorative xmlns:adec="http://schemas.microsoft.com/office/drawing/2017/decorative" val="1"/>
                </a:ext>
              </a:extLst>
            </p:cNvPr>
            <p:cNvGrpSpPr/>
            <p:nvPr/>
          </p:nvGrpSpPr>
          <p:grpSpPr>
            <a:xfrm>
              <a:off x="5367042" y="9401"/>
              <a:ext cx="859504" cy="3514866"/>
              <a:chOff x="7579774" y="15041"/>
              <a:chExt cx="1375206" cy="5623786"/>
            </a:xfrm>
          </p:grpSpPr>
          <p:sp>
            <p:nvSpPr>
              <p:cNvPr id="48" name="Freeform: Shape 47">
                <a:extLst>
                  <a:ext uri="{FF2B5EF4-FFF2-40B4-BE49-F238E27FC236}">
                    <a16:creationId xmlns:a16="http://schemas.microsoft.com/office/drawing/2014/main" id="{5CCF68CB-B70C-4241-9028-E43DA2700EAB}"/>
                  </a:ext>
                </a:extLst>
              </p:cNvPr>
              <p:cNvSpPr/>
              <p:nvPr/>
            </p:nvSpPr>
            <p:spPr>
              <a:xfrm rot="20397764">
                <a:off x="7579774" y="15041"/>
                <a:ext cx="1375206" cy="4769606"/>
              </a:xfrm>
              <a:custGeom>
                <a:avLst/>
                <a:gdLst>
                  <a:gd name="connsiteX0" fmla="*/ 5572244 w 5572244"/>
                  <a:gd name="connsiteY0" fmla="*/ 2786122 h 5572243"/>
                  <a:gd name="connsiteX1" fmla="*/ 2786121 w 5572244"/>
                  <a:gd name="connsiteY1" fmla="*/ 5572244 h 5572243"/>
                  <a:gd name="connsiteX2" fmla="*/ -1 w 5572244"/>
                  <a:gd name="connsiteY2" fmla="*/ 2786122 h 5572243"/>
                  <a:gd name="connsiteX3" fmla="*/ 2786121 w 5572244"/>
                  <a:gd name="connsiteY3" fmla="*/ 0 h 5572243"/>
                  <a:gd name="connsiteX4" fmla="*/ 5572244 w 5572244"/>
                  <a:gd name="connsiteY4" fmla="*/ 2786122 h 5572243"/>
                  <a:gd name="connsiteX0" fmla="*/ 5572245 w 5599921"/>
                  <a:gd name="connsiteY0" fmla="*/ 2786122 h 5572244"/>
                  <a:gd name="connsiteX1" fmla="*/ 2786122 w 5599921"/>
                  <a:gd name="connsiteY1" fmla="*/ 5572244 h 5572244"/>
                  <a:gd name="connsiteX2" fmla="*/ 0 w 5599921"/>
                  <a:gd name="connsiteY2" fmla="*/ 2786122 h 5572244"/>
                  <a:gd name="connsiteX3" fmla="*/ 2786122 w 5599921"/>
                  <a:gd name="connsiteY3" fmla="*/ 0 h 5572244"/>
                  <a:gd name="connsiteX4" fmla="*/ 5599921 w 5599921"/>
                  <a:gd name="connsiteY4" fmla="*/ 2813798 h 5572244"/>
                  <a:gd name="connsiteX0" fmla="*/ 5572245 w 5572245"/>
                  <a:gd name="connsiteY0" fmla="*/ 2786122 h 5572244"/>
                  <a:gd name="connsiteX1" fmla="*/ 2786122 w 5572245"/>
                  <a:gd name="connsiteY1" fmla="*/ 5572244 h 5572244"/>
                  <a:gd name="connsiteX2" fmla="*/ 0 w 5572245"/>
                  <a:gd name="connsiteY2" fmla="*/ 2786122 h 5572244"/>
                  <a:gd name="connsiteX3" fmla="*/ 2786122 w 5572245"/>
                  <a:gd name="connsiteY3" fmla="*/ 0 h 5572244"/>
                  <a:gd name="connsiteX0" fmla="*/ 2786122 w 2786122"/>
                  <a:gd name="connsiteY0" fmla="*/ 5572244 h 5572244"/>
                  <a:gd name="connsiteX1" fmla="*/ 0 w 2786122"/>
                  <a:gd name="connsiteY1" fmla="*/ 2786122 h 5572244"/>
                  <a:gd name="connsiteX2" fmla="*/ 2786122 w 2786122"/>
                  <a:gd name="connsiteY2" fmla="*/ 0 h 5572244"/>
                  <a:gd name="connsiteX0" fmla="*/ 0 w 2786122"/>
                  <a:gd name="connsiteY0" fmla="*/ 2786122 h 2786122"/>
                  <a:gd name="connsiteX1" fmla="*/ 2786122 w 2786122"/>
                  <a:gd name="connsiteY1" fmla="*/ 0 h 2786122"/>
                  <a:gd name="connsiteX0" fmla="*/ 0 w 2786122"/>
                  <a:gd name="connsiteY0" fmla="*/ 2786122 h 2786122"/>
                  <a:gd name="connsiteX1" fmla="*/ 408680 w 2786122"/>
                  <a:gd name="connsiteY1" fmla="*/ 1342501 h 2786122"/>
                  <a:gd name="connsiteX2" fmla="*/ 2786122 w 2786122"/>
                  <a:gd name="connsiteY2" fmla="*/ 0 h 2786122"/>
                  <a:gd name="connsiteX0" fmla="*/ 0 w 2786122"/>
                  <a:gd name="connsiteY0" fmla="*/ 2786122 h 2786122"/>
                  <a:gd name="connsiteX1" fmla="*/ 408680 w 2786122"/>
                  <a:gd name="connsiteY1" fmla="*/ 1342501 h 2786122"/>
                  <a:gd name="connsiteX2" fmla="*/ 2786122 w 2786122"/>
                  <a:gd name="connsiteY2" fmla="*/ 0 h 2786122"/>
                  <a:gd name="connsiteX0" fmla="*/ 7555 w 2793677"/>
                  <a:gd name="connsiteY0" fmla="*/ 2786122 h 2786122"/>
                  <a:gd name="connsiteX1" fmla="*/ 416235 w 2793677"/>
                  <a:gd name="connsiteY1" fmla="*/ 1342501 h 2786122"/>
                  <a:gd name="connsiteX2" fmla="*/ 2793677 w 2793677"/>
                  <a:gd name="connsiteY2" fmla="*/ 0 h 2786122"/>
                  <a:gd name="connsiteX0" fmla="*/ 7555 w 416235"/>
                  <a:gd name="connsiteY0" fmla="*/ 1443621 h 1443621"/>
                  <a:gd name="connsiteX1" fmla="*/ 416235 w 416235"/>
                  <a:gd name="connsiteY1" fmla="*/ 0 h 1443621"/>
                </a:gdLst>
                <a:ahLst/>
                <a:cxnLst>
                  <a:cxn ang="0">
                    <a:pos x="connsiteX0" y="connsiteY0"/>
                  </a:cxn>
                  <a:cxn ang="0">
                    <a:pos x="connsiteX1" y="connsiteY1"/>
                  </a:cxn>
                </a:cxnLst>
                <a:rect l="l" t="t" r="r" b="b"/>
                <a:pathLst>
                  <a:path w="416235" h="1443621">
                    <a:moveTo>
                      <a:pt x="7555" y="1443621"/>
                    </a:moveTo>
                    <a:cubicBezTo>
                      <a:pt x="-64927" y="794236"/>
                      <a:pt x="407752" y="10480"/>
                      <a:pt x="416235" y="0"/>
                    </a:cubicBezTo>
                  </a:path>
                </a:pathLst>
              </a:custGeom>
              <a:noFill/>
              <a:ln w="38864" cap="flat">
                <a:solidFill>
                  <a:schemeClr val="bg1">
                    <a:alpha val="70000"/>
                  </a:schemeClr>
                </a:solidFill>
                <a:prstDash val="solid"/>
                <a:miter/>
              </a:ln>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black"/>
                  </a:solidFill>
                  <a:effectLst/>
                  <a:uLnTx/>
                  <a:uFillTx/>
                  <a:latin typeface="Helvetica"/>
                  <a:ea typeface="+mn-ea"/>
                  <a:cs typeface="+mn-cs"/>
                </a:endParaRPr>
              </a:p>
            </p:txBody>
          </p:sp>
          <p:sp>
            <p:nvSpPr>
              <p:cNvPr id="49" name="Oval 48">
                <a:extLst>
                  <a:ext uri="{FF2B5EF4-FFF2-40B4-BE49-F238E27FC236}">
                    <a16:creationId xmlns:a16="http://schemas.microsoft.com/office/drawing/2014/main" id="{8898F16B-5704-4233-85F2-0A170C5044BA}"/>
                  </a:ext>
                </a:extLst>
              </p:cNvPr>
              <p:cNvSpPr/>
              <p:nvPr/>
            </p:nvSpPr>
            <p:spPr>
              <a:xfrm>
                <a:off x="8374176" y="4845902"/>
                <a:ext cx="275854" cy="275854"/>
              </a:xfrm>
              <a:prstGeom prst="ellipse">
                <a:avLst/>
              </a:prstGeom>
              <a:noFill/>
              <a:ln w="38864" cap="flat">
                <a:solidFill>
                  <a:schemeClr val="bg1">
                    <a:alpha val="70000"/>
                  </a:schemeClr>
                </a:solidFill>
                <a:prstDash val="solid"/>
                <a:miter/>
              </a:ln>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black"/>
                  </a:solidFill>
                  <a:effectLst/>
                  <a:uLnTx/>
                  <a:uFillTx/>
                  <a:latin typeface="Helvetica"/>
                  <a:ea typeface="+mn-ea"/>
                  <a:cs typeface="+mn-cs"/>
                </a:endParaRPr>
              </a:p>
            </p:txBody>
          </p:sp>
          <p:sp>
            <p:nvSpPr>
              <p:cNvPr id="50" name="Oval 49">
                <a:extLst>
                  <a:ext uri="{FF2B5EF4-FFF2-40B4-BE49-F238E27FC236}">
                    <a16:creationId xmlns:a16="http://schemas.microsoft.com/office/drawing/2014/main" id="{5498E727-D46F-4234-8319-7A7453F792E3}"/>
                  </a:ext>
                </a:extLst>
              </p:cNvPr>
              <p:cNvSpPr/>
              <p:nvPr/>
            </p:nvSpPr>
            <p:spPr>
              <a:xfrm>
                <a:off x="8599147" y="5362973"/>
                <a:ext cx="275854" cy="275854"/>
              </a:xfrm>
              <a:prstGeom prst="ellipse">
                <a:avLst/>
              </a:prstGeom>
              <a:noFill/>
              <a:ln w="38864" cap="flat">
                <a:solidFill>
                  <a:schemeClr val="bg1">
                    <a:alpha val="70000"/>
                  </a:schemeClr>
                </a:solidFill>
                <a:prstDash val="solid"/>
                <a:miter/>
              </a:ln>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IN" sz="1125" b="0" i="0" u="none" strike="noStrike" kern="1200" cap="none" spc="0" normalizeH="0" baseline="0" noProof="0">
                  <a:ln>
                    <a:noFill/>
                  </a:ln>
                  <a:solidFill>
                    <a:prstClr val="black"/>
                  </a:solidFill>
                  <a:effectLst/>
                  <a:uLnTx/>
                  <a:uFillTx/>
                  <a:latin typeface="Helvetica"/>
                  <a:ea typeface="+mn-ea"/>
                  <a:cs typeface="+mn-cs"/>
                </a:endParaRPr>
              </a:p>
            </p:txBody>
          </p:sp>
        </p:grpSp>
      </p:grpSp>
      <p:sp>
        <p:nvSpPr>
          <p:cNvPr id="65" name="Title 1">
            <a:extLst>
              <a:ext uri="{FF2B5EF4-FFF2-40B4-BE49-F238E27FC236}">
                <a16:creationId xmlns:a16="http://schemas.microsoft.com/office/drawing/2014/main" id="{174B50CF-FDC4-4969-9867-C6C62DE43C35}"/>
              </a:ext>
            </a:extLst>
          </p:cNvPr>
          <p:cNvSpPr>
            <a:spLocks noGrp="1"/>
          </p:cNvSpPr>
          <p:nvPr>
            <p:ph type="title"/>
          </p:nvPr>
        </p:nvSpPr>
        <p:spPr>
          <a:xfrm>
            <a:off x="842863" y="3528632"/>
            <a:ext cx="4703382" cy="2497851"/>
          </a:xfrm>
        </p:spPr>
        <p:txBody>
          <a:bodyPr anchor="t" anchorCtr="0"/>
          <a:lstStyle/>
          <a:p>
            <a:r>
              <a:rPr lang="en-US" sz="3750" dirty="0">
                <a:solidFill>
                  <a:schemeClr val="accent2"/>
                </a:solidFill>
              </a:rPr>
              <a:t>Secure </a:t>
            </a:r>
            <a:r>
              <a:rPr lang="en-US" sz="3750" b="0" dirty="0"/>
              <a:t>your</a:t>
            </a:r>
            <a:r>
              <a:rPr lang="en-US" sz="3750" dirty="0">
                <a:solidFill>
                  <a:schemeClr val="accent2"/>
                </a:solidFill>
              </a:rPr>
              <a:t> development environment</a:t>
            </a:r>
          </a:p>
        </p:txBody>
      </p:sp>
      <p:sp>
        <p:nvSpPr>
          <p:cNvPr id="52" name="Oval 51">
            <a:extLst>
              <a:ext uri="{FF2B5EF4-FFF2-40B4-BE49-F238E27FC236}">
                <a16:creationId xmlns:a16="http://schemas.microsoft.com/office/drawing/2014/main" id="{442ED1F2-0943-4558-ACA8-C4BE8D006DBD}"/>
              </a:ext>
              <a:ext uri="{C183D7F6-B498-43B3-948B-1728B52AA6E4}">
                <adec:decorative xmlns:adec="http://schemas.microsoft.com/office/drawing/2017/decorative" val="1"/>
              </a:ext>
            </a:extLst>
          </p:cNvPr>
          <p:cNvSpPr/>
          <p:nvPr/>
        </p:nvSpPr>
        <p:spPr>
          <a:xfrm>
            <a:off x="842863" y="1293477"/>
            <a:ext cx="2011680" cy="2011680"/>
          </a:xfrm>
          <a:prstGeom prst="ellipse">
            <a:avLst/>
          </a:prstGeom>
          <a:gradFill>
            <a:gsLst>
              <a:gs pos="0">
                <a:srgbClr val="8661C5"/>
              </a:gs>
              <a:gs pos="100000">
                <a:srgbClr val="161828"/>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4" name="Group 3" descr="Icon of a shield">
            <a:extLst>
              <a:ext uri="{FF2B5EF4-FFF2-40B4-BE49-F238E27FC236}">
                <a16:creationId xmlns:a16="http://schemas.microsoft.com/office/drawing/2014/main" id="{D2863A2B-A802-48B4-9F4D-B122BB151D11}"/>
              </a:ext>
            </a:extLst>
          </p:cNvPr>
          <p:cNvGrpSpPr/>
          <p:nvPr/>
        </p:nvGrpSpPr>
        <p:grpSpPr>
          <a:xfrm>
            <a:off x="1345671" y="1696822"/>
            <a:ext cx="1006065" cy="1204991"/>
            <a:chOff x="1345671" y="1696822"/>
            <a:chExt cx="1006065" cy="1204991"/>
          </a:xfrm>
        </p:grpSpPr>
        <p:sp>
          <p:nvSpPr>
            <p:cNvPr id="31" name="Freeform 68">
              <a:extLst>
                <a:ext uri="{FF2B5EF4-FFF2-40B4-BE49-F238E27FC236}">
                  <a16:creationId xmlns:a16="http://schemas.microsoft.com/office/drawing/2014/main" id="{2B530C19-65F0-4646-9D56-97B56FE061FB}"/>
                </a:ext>
                <a:ext uri="{C183D7F6-B498-43B3-948B-1728B52AA6E4}">
                  <adec:decorative xmlns:adec="http://schemas.microsoft.com/office/drawing/2017/decorative" val="1"/>
                </a:ext>
              </a:extLst>
            </p:cNvPr>
            <p:cNvSpPr>
              <a:spLocks/>
            </p:cNvSpPr>
            <p:nvPr/>
          </p:nvSpPr>
          <p:spPr bwMode="auto">
            <a:xfrm>
              <a:off x="1345671" y="1696822"/>
              <a:ext cx="1006065" cy="1204991"/>
            </a:xfrm>
            <a:custGeom>
              <a:avLst/>
              <a:gdLst>
                <a:gd name="connsiteX0" fmla="*/ 1400249 w 2801938"/>
                <a:gd name="connsiteY0" fmla="*/ 128588 h 3355975"/>
                <a:gd name="connsiteX1" fmla="*/ 122238 w 2801938"/>
                <a:gd name="connsiteY1" fmla="*/ 517588 h 3355975"/>
                <a:gd name="connsiteX2" fmla="*/ 122238 w 2801938"/>
                <a:gd name="connsiteY2" fmla="*/ 1487049 h 3355975"/>
                <a:gd name="connsiteX3" fmla="*/ 1400249 w 2801938"/>
                <a:gd name="connsiteY3" fmla="*/ 3216276 h 3355975"/>
                <a:gd name="connsiteX4" fmla="*/ 2681288 w 2801938"/>
                <a:gd name="connsiteY4" fmla="*/ 1487049 h 3355975"/>
                <a:gd name="connsiteX5" fmla="*/ 2681288 w 2801938"/>
                <a:gd name="connsiteY5" fmla="*/ 517588 h 3355975"/>
                <a:gd name="connsiteX6" fmla="*/ 1400249 w 2801938"/>
                <a:gd name="connsiteY6" fmla="*/ 128588 h 3355975"/>
                <a:gd name="connsiteX7" fmla="*/ 1399455 w 2801938"/>
                <a:gd name="connsiteY7" fmla="*/ 0 h 3355975"/>
                <a:gd name="connsiteX8" fmla="*/ 2801938 w 2801938"/>
                <a:gd name="connsiteY8" fmla="*/ 425577 h 3355975"/>
                <a:gd name="connsiteX9" fmla="*/ 2801938 w 2801938"/>
                <a:gd name="connsiteY9" fmla="*/ 1486478 h 3355975"/>
                <a:gd name="connsiteX10" fmla="*/ 2417240 w 2801938"/>
                <a:gd name="connsiteY10" fmla="*/ 2510902 h 3355975"/>
                <a:gd name="connsiteX11" fmla="*/ 1429746 w 2801938"/>
                <a:gd name="connsiteY11" fmla="*/ 3340776 h 3355975"/>
                <a:gd name="connsiteX12" fmla="*/ 1399455 w 2801938"/>
                <a:gd name="connsiteY12" fmla="*/ 3355975 h 3355975"/>
                <a:gd name="connsiteX13" fmla="*/ 1372193 w 2801938"/>
                <a:gd name="connsiteY13" fmla="*/ 3340776 h 3355975"/>
                <a:gd name="connsiteX14" fmla="*/ 384699 w 2801938"/>
                <a:gd name="connsiteY14" fmla="*/ 2510902 h 3355975"/>
                <a:gd name="connsiteX15" fmla="*/ 0 w 2801938"/>
                <a:gd name="connsiteY15" fmla="*/ 1486478 h 3355975"/>
                <a:gd name="connsiteX16" fmla="*/ 0 w 2801938"/>
                <a:gd name="connsiteY16" fmla="*/ 425577 h 3355975"/>
                <a:gd name="connsiteX17" fmla="*/ 1399455 w 2801938"/>
                <a:gd name="connsiteY17" fmla="*/ 0 h 335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1938" h="3355975">
                  <a:moveTo>
                    <a:pt x="1400249" y="128588"/>
                  </a:moveTo>
                  <a:lnTo>
                    <a:pt x="122238" y="517588"/>
                  </a:lnTo>
                  <a:cubicBezTo>
                    <a:pt x="122238" y="1487049"/>
                    <a:pt x="122238" y="1487049"/>
                    <a:pt x="122238" y="1487049"/>
                  </a:cubicBezTo>
                  <a:cubicBezTo>
                    <a:pt x="122238" y="2107018"/>
                    <a:pt x="634048" y="2799924"/>
                    <a:pt x="1400249" y="3216276"/>
                  </a:cubicBezTo>
                  <a:cubicBezTo>
                    <a:pt x="2166450" y="2799924"/>
                    <a:pt x="2681288" y="2107018"/>
                    <a:pt x="2681288" y="1487049"/>
                  </a:cubicBezTo>
                  <a:cubicBezTo>
                    <a:pt x="2681288" y="517588"/>
                    <a:pt x="2681288" y="517588"/>
                    <a:pt x="2681288" y="517588"/>
                  </a:cubicBezTo>
                  <a:cubicBezTo>
                    <a:pt x="1400249" y="128588"/>
                    <a:pt x="1400249" y="128588"/>
                    <a:pt x="1400249" y="128588"/>
                  </a:cubicBezTo>
                  <a:close/>
                  <a:moveTo>
                    <a:pt x="1399455" y="0"/>
                  </a:moveTo>
                  <a:cubicBezTo>
                    <a:pt x="2801938" y="425577"/>
                    <a:pt x="2801938" y="425577"/>
                    <a:pt x="2801938" y="425577"/>
                  </a:cubicBezTo>
                  <a:cubicBezTo>
                    <a:pt x="2801938" y="1486478"/>
                    <a:pt x="2801938" y="1486478"/>
                    <a:pt x="2801938" y="1486478"/>
                  </a:cubicBezTo>
                  <a:cubicBezTo>
                    <a:pt x="2801938" y="1820860"/>
                    <a:pt x="2668657" y="2176520"/>
                    <a:pt x="2417240" y="2510902"/>
                  </a:cubicBezTo>
                  <a:cubicBezTo>
                    <a:pt x="2171881" y="2839204"/>
                    <a:pt x="1829590" y="3127988"/>
                    <a:pt x="1429746" y="3340776"/>
                  </a:cubicBezTo>
                  <a:lnTo>
                    <a:pt x="1399455" y="3355975"/>
                  </a:lnTo>
                  <a:cubicBezTo>
                    <a:pt x="1372193" y="3340776"/>
                    <a:pt x="1372193" y="3340776"/>
                    <a:pt x="1372193" y="3340776"/>
                  </a:cubicBezTo>
                  <a:cubicBezTo>
                    <a:pt x="972348" y="3127988"/>
                    <a:pt x="630058" y="2839204"/>
                    <a:pt x="384699" y="2510902"/>
                  </a:cubicBezTo>
                  <a:cubicBezTo>
                    <a:pt x="133282" y="2176520"/>
                    <a:pt x="0" y="1820860"/>
                    <a:pt x="0" y="1486478"/>
                  </a:cubicBezTo>
                  <a:cubicBezTo>
                    <a:pt x="0" y="425577"/>
                    <a:pt x="0" y="425577"/>
                    <a:pt x="0" y="425577"/>
                  </a:cubicBezTo>
                  <a:cubicBezTo>
                    <a:pt x="1399455" y="0"/>
                    <a:pt x="1399455" y="0"/>
                    <a:pt x="139945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sp>
          <p:nvSpPr>
            <p:cNvPr id="32" name="Freeform 69">
              <a:extLst>
                <a:ext uri="{FF2B5EF4-FFF2-40B4-BE49-F238E27FC236}">
                  <a16:creationId xmlns:a16="http://schemas.microsoft.com/office/drawing/2014/main" id="{E4CAB07F-2E3B-40E2-B8B3-FC037C97F4AA}"/>
                </a:ext>
                <a:ext uri="{C183D7F6-B498-43B3-948B-1728B52AA6E4}">
                  <adec:decorative xmlns:adec="http://schemas.microsoft.com/office/drawing/2017/decorative" val="1"/>
                </a:ext>
              </a:extLst>
            </p:cNvPr>
            <p:cNvSpPr>
              <a:spLocks/>
            </p:cNvSpPr>
            <p:nvPr/>
          </p:nvSpPr>
          <p:spPr bwMode="auto">
            <a:xfrm>
              <a:off x="1418632" y="1775483"/>
              <a:ext cx="425226" cy="1042540"/>
            </a:xfrm>
            <a:custGeom>
              <a:avLst/>
              <a:gdLst>
                <a:gd name="connsiteX0" fmla="*/ 1063626 w 1184275"/>
                <a:gd name="connsiteY0" fmla="*/ 163513 h 2903538"/>
                <a:gd name="connsiteX1" fmla="*/ 122238 w 1184275"/>
                <a:gd name="connsiteY1" fmla="*/ 446352 h 2903538"/>
                <a:gd name="connsiteX2" fmla="*/ 122238 w 1184275"/>
                <a:gd name="connsiteY2" fmla="*/ 1267496 h 2903538"/>
                <a:gd name="connsiteX3" fmla="*/ 1063626 w 1184275"/>
                <a:gd name="connsiteY3" fmla="*/ 2690813 h 2903538"/>
                <a:gd name="connsiteX4" fmla="*/ 1063626 w 1184275"/>
                <a:gd name="connsiteY4" fmla="*/ 163513 h 2903538"/>
                <a:gd name="connsiteX5" fmla="*/ 1184275 w 1184275"/>
                <a:gd name="connsiteY5" fmla="*/ 0 h 2903538"/>
                <a:gd name="connsiteX6" fmla="*/ 1184275 w 1184275"/>
                <a:gd name="connsiteY6" fmla="*/ 2903538 h 2903538"/>
                <a:gd name="connsiteX7" fmla="*/ 1093410 w 1184275"/>
                <a:gd name="connsiteY7" fmla="*/ 2851852 h 2903538"/>
                <a:gd name="connsiteX8" fmla="*/ 0 w 1184275"/>
                <a:gd name="connsiteY8" fmla="*/ 1267828 h 2903538"/>
                <a:gd name="connsiteX9" fmla="*/ 0 w 1184275"/>
                <a:gd name="connsiteY9" fmla="*/ 358762 h 2903538"/>
                <a:gd name="connsiteX10" fmla="*/ 1184275 w 1184275"/>
                <a:gd name="connsiteY10" fmla="*/ 0 h 2903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4275" h="2903538">
                  <a:moveTo>
                    <a:pt x="1063626" y="163513"/>
                  </a:moveTo>
                  <a:lnTo>
                    <a:pt x="122238" y="446352"/>
                  </a:lnTo>
                  <a:cubicBezTo>
                    <a:pt x="122238" y="1267496"/>
                    <a:pt x="122238" y="1267496"/>
                    <a:pt x="122238" y="1267496"/>
                  </a:cubicBezTo>
                  <a:cubicBezTo>
                    <a:pt x="122238" y="1790596"/>
                    <a:pt x="473367" y="2319778"/>
                    <a:pt x="1063626" y="2690813"/>
                  </a:cubicBezTo>
                  <a:cubicBezTo>
                    <a:pt x="1063626" y="163513"/>
                    <a:pt x="1063626" y="163513"/>
                    <a:pt x="1063626" y="163513"/>
                  </a:cubicBezTo>
                  <a:close/>
                  <a:moveTo>
                    <a:pt x="1184275" y="0"/>
                  </a:moveTo>
                  <a:lnTo>
                    <a:pt x="1184275" y="2903538"/>
                  </a:lnTo>
                  <a:cubicBezTo>
                    <a:pt x="1093410" y="2851852"/>
                    <a:pt x="1093410" y="2851852"/>
                    <a:pt x="1093410" y="2851852"/>
                  </a:cubicBezTo>
                  <a:cubicBezTo>
                    <a:pt x="408893" y="2453566"/>
                    <a:pt x="0" y="1860697"/>
                    <a:pt x="0" y="1267828"/>
                  </a:cubicBezTo>
                  <a:cubicBezTo>
                    <a:pt x="0" y="358762"/>
                    <a:pt x="0" y="358762"/>
                    <a:pt x="0" y="358762"/>
                  </a:cubicBezTo>
                  <a:cubicBezTo>
                    <a:pt x="1184275" y="0"/>
                    <a:pt x="1184275" y="0"/>
                    <a:pt x="11842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8" name="Group 7">
            <a:extLst>
              <a:ext uri="{FF2B5EF4-FFF2-40B4-BE49-F238E27FC236}">
                <a16:creationId xmlns:a16="http://schemas.microsoft.com/office/drawing/2014/main" id="{138FFA0C-5843-4362-AFFB-2A0B584C3A3C}"/>
              </a:ext>
              <a:ext uri="{C183D7F6-B498-43B3-948B-1728B52AA6E4}">
                <adec:decorative xmlns:adec="http://schemas.microsoft.com/office/drawing/2017/decorative" val="1"/>
              </a:ext>
            </a:extLst>
          </p:cNvPr>
          <p:cNvGrpSpPr/>
          <p:nvPr/>
        </p:nvGrpSpPr>
        <p:grpSpPr>
          <a:xfrm>
            <a:off x="9452520" y="177314"/>
            <a:ext cx="1080135" cy="1080135"/>
            <a:chOff x="8046378" y="177314"/>
            <a:chExt cx="1080135" cy="1080135"/>
          </a:xfrm>
        </p:grpSpPr>
        <p:sp>
          <p:nvSpPr>
            <p:cNvPr id="35" name="Oval 34">
              <a:extLst>
                <a:ext uri="{FF2B5EF4-FFF2-40B4-BE49-F238E27FC236}">
                  <a16:creationId xmlns:a16="http://schemas.microsoft.com/office/drawing/2014/main" id="{B8AD715D-A3F9-456D-A90D-890E671792C8}"/>
                </a:ext>
                <a:ext uri="{C183D7F6-B498-43B3-948B-1728B52AA6E4}">
                  <adec:decorative xmlns:adec="http://schemas.microsoft.com/office/drawing/2017/decorative" val="1"/>
                </a:ext>
              </a:extLst>
            </p:cNvPr>
            <p:cNvSpPr/>
            <p:nvPr/>
          </p:nvSpPr>
          <p:spPr>
            <a:xfrm>
              <a:off x="8046378" y="177314"/>
              <a:ext cx="1080135" cy="1080135"/>
            </a:xfrm>
            <a:prstGeom prst="ellipse">
              <a:avLst/>
            </a:prstGeom>
            <a:gradFill>
              <a:gsLst>
                <a:gs pos="0">
                  <a:srgbClr val="8661C5"/>
                </a:gs>
                <a:gs pos="100000">
                  <a:srgbClr val="161828"/>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6" name="Freeform 17">
              <a:extLst>
                <a:ext uri="{FF2B5EF4-FFF2-40B4-BE49-F238E27FC236}">
                  <a16:creationId xmlns:a16="http://schemas.microsoft.com/office/drawing/2014/main" id="{9507BB68-1810-4A40-916E-BCB1FC7E6E56}"/>
                </a:ext>
                <a:ext uri="{C183D7F6-B498-43B3-948B-1728B52AA6E4}">
                  <adec:decorative xmlns:adec="http://schemas.microsoft.com/office/drawing/2017/decorative" val="1"/>
                </a:ext>
              </a:extLst>
            </p:cNvPr>
            <p:cNvSpPr>
              <a:spLocks noEditPoints="1"/>
            </p:cNvSpPr>
            <p:nvPr/>
          </p:nvSpPr>
          <p:spPr bwMode="auto">
            <a:xfrm>
              <a:off x="8230813" y="410784"/>
              <a:ext cx="711265" cy="613195"/>
            </a:xfrm>
            <a:custGeom>
              <a:avLst/>
              <a:gdLst>
                <a:gd name="T0" fmla="*/ 366 w 1143"/>
                <a:gd name="T1" fmla="*/ 867 h 986"/>
                <a:gd name="T2" fmla="*/ 350 w 1143"/>
                <a:gd name="T3" fmla="*/ 806 h 986"/>
                <a:gd name="T4" fmla="*/ 61 w 1143"/>
                <a:gd name="T5" fmla="*/ 785 h 986"/>
                <a:gd name="T6" fmla="*/ 0 w 1143"/>
                <a:gd name="T7" fmla="*/ 532 h 986"/>
                <a:gd name="T8" fmla="*/ 189 w 1143"/>
                <a:gd name="T9" fmla="*/ 413 h 986"/>
                <a:gd name="T10" fmla="*/ 368 w 1143"/>
                <a:gd name="T11" fmla="*/ 405 h 986"/>
                <a:gd name="T12" fmla="*/ 536 w 1143"/>
                <a:gd name="T13" fmla="*/ 367 h 986"/>
                <a:gd name="T14" fmla="*/ 903 w 1143"/>
                <a:gd name="T15" fmla="*/ 413 h 986"/>
                <a:gd name="T16" fmla="*/ 1137 w 1143"/>
                <a:gd name="T17" fmla="*/ 535 h 986"/>
                <a:gd name="T18" fmla="*/ 933 w 1143"/>
                <a:gd name="T19" fmla="*/ 874 h 986"/>
                <a:gd name="T20" fmla="*/ 766 w 1143"/>
                <a:gd name="T21" fmla="*/ 864 h 986"/>
                <a:gd name="T22" fmla="*/ 557 w 1143"/>
                <a:gd name="T23" fmla="*/ 986 h 986"/>
                <a:gd name="T24" fmla="*/ 574 w 1143"/>
                <a:gd name="T25" fmla="*/ 949 h 986"/>
                <a:gd name="T26" fmla="*/ 815 w 1143"/>
                <a:gd name="T27" fmla="*/ 516 h 986"/>
                <a:gd name="T28" fmla="*/ 537 w 1143"/>
                <a:gd name="T29" fmla="*/ 403 h 986"/>
                <a:gd name="T30" fmla="*/ 319 w 1143"/>
                <a:gd name="T31" fmla="*/ 519 h 986"/>
                <a:gd name="T32" fmla="*/ 807 w 1143"/>
                <a:gd name="T33" fmla="*/ 771 h 986"/>
                <a:gd name="T34" fmla="*/ 1041 w 1143"/>
                <a:gd name="T35" fmla="*/ 772 h 986"/>
                <a:gd name="T36" fmla="*/ 1097 w 1143"/>
                <a:gd name="T37" fmla="*/ 501 h 986"/>
                <a:gd name="T38" fmla="*/ 838 w 1143"/>
                <a:gd name="T39" fmla="*/ 458 h 986"/>
                <a:gd name="T40" fmla="*/ 798 w 1143"/>
                <a:gd name="T41" fmla="*/ 733 h 986"/>
                <a:gd name="T42" fmla="*/ 94 w 1143"/>
                <a:gd name="T43" fmla="*/ 771 h 986"/>
                <a:gd name="T44" fmla="*/ 327 w 1143"/>
                <a:gd name="T45" fmla="*/ 772 h 986"/>
                <a:gd name="T46" fmla="*/ 336 w 1143"/>
                <a:gd name="T47" fmla="*/ 744 h 986"/>
                <a:gd name="T48" fmla="*/ 283 w 1143"/>
                <a:gd name="T49" fmla="*/ 520 h 986"/>
                <a:gd name="T50" fmla="*/ 191 w 1143"/>
                <a:gd name="T51" fmla="*/ 449 h 986"/>
                <a:gd name="T52" fmla="*/ 94 w 1143"/>
                <a:gd name="T53" fmla="*/ 771 h 986"/>
                <a:gd name="T54" fmla="*/ 793 w 1143"/>
                <a:gd name="T55" fmla="*/ 262 h 986"/>
                <a:gd name="T56" fmla="*/ 1058 w 1143"/>
                <a:gd name="T57" fmla="*/ 262 h 986"/>
                <a:gd name="T58" fmla="*/ 926 w 1143"/>
                <a:gd name="T59" fmla="*/ 165 h 986"/>
                <a:gd name="T60" fmla="*/ 926 w 1143"/>
                <a:gd name="T61" fmla="*/ 359 h 986"/>
                <a:gd name="T62" fmla="*/ 926 w 1143"/>
                <a:gd name="T63" fmla="*/ 165 h 986"/>
                <a:gd name="T64" fmla="*/ 80 w 1143"/>
                <a:gd name="T65" fmla="*/ 262 h 986"/>
                <a:gd name="T66" fmla="*/ 345 w 1143"/>
                <a:gd name="T67" fmla="*/ 262 h 986"/>
                <a:gd name="T68" fmla="*/ 212 w 1143"/>
                <a:gd name="T69" fmla="*/ 165 h 986"/>
                <a:gd name="T70" fmla="*/ 212 w 1143"/>
                <a:gd name="T71" fmla="*/ 359 h 986"/>
                <a:gd name="T72" fmla="*/ 212 w 1143"/>
                <a:gd name="T73" fmla="*/ 165 h 986"/>
                <a:gd name="T74" fmla="*/ 392 w 1143"/>
                <a:gd name="T75" fmla="*/ 175 h 986"/>
                <a:gd name="T76" fmla="*/ 742 w 1143"/>
                <a:gd name="T77" fmla="*/ 175 h 986"/>
                <a:gd name="T78" fmla="*/ 567 w 1143"/>
                <a:gd name="T79" fmla="*/ 36 h 986"/>
                <a:gd name="T80" fmla="*/ 567 w 1143"/>
                <a:gd name="T81" fmla="*/ 315 h 986"/>
                <a:gd name="T82" fmla="*/ 567 w 1143"/>
                <a:gd name="T83" fmla="*/ 3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986">
                  <a:moveTo>
                    <a:pt x="557" y="986"/>
                  </a:moveTo>
                  <a:cubicBezTo>
                    <a:pt x="473" y="986"/>
                    <a:pt x="404" y="943"/>
                    <a:pt x="366" y="867"/>
                  </a:cubicBezTo>
                  <a:cubicBezTo>
                    <a:pt x="365" y="865"/>
                    <a:pt x="365" y="865"/>
                    <a:pt x="365" y="865"/>
                  </a:cubicBezTo>
                  <a:cubicBezTo>
                    <a:pt x="350" y="806"/>
                    <a:pt x="350" y="806"/>
                    <a:pt x="350" y="806"/>
                  </a:cubicBezTo>
                  <a:cubicBezTo>
                    <a:pt x="326" y="842"/>
                    <a:pt x="274" y="870"/>
                    <a:pt x="220" y="874"/>
                  </a:cubicBezTo>
                  <a:cubicBezTo>
                    <a:pt x="150" y="880"/>
                    <a:pt x="92" y="847"/>
                    <a:pt x="61" y="785"/>
                  </a:cubicBezTo>
                  <a:cubicBezTo>
                    <a:pt x="60" y="783"/>
                    <a:pt x="60" y="783"/>
                    <a:pt x="60" y="783"/>
                  </a:cubicBezTo>
                  <a:cubicBezTo>
                    <a:pt x="0" y="532"/>
                    <a:pt x="0" y="532"/>
                    <a:pt x="0" y="532"/>
                  </a:cubicBezTo>
                  <a:cubicBezTo>
                    <a:pt x="0" y="529"/>
                    <a:pt x="0" y="529"/>
                    <a:pt x="0" y="529"/>
                  </a:cubicBezTo>
                  <a:cubicBezTo>
                    <a:pt x="4" y="461"/>
                    <a:pt x="75" y="417"/>
                    <a:pt x="189" y="413"/>
                  </a:cubicBezTo>
                  <a:cubicBezTo>
                    <a:pt x="237" y="411"/>
                    <a:pt x="288" y="418"/>
                    <a:pt x="329" y="430"/>
                  </a:cubicBezTo>
                  <a:cubicBezTo>
                    <a:pt x="340" y="421"/>
                    <a:pt x="353" y="412"/>
                    <a:pt x="368" y="405"/>
                  </a:cubicBezTo>
                  <a:cubicBezTo>
                    <a:pt x="411" y="383"/>
                    <a:pt x="469" y="370"/>
                    <a:pt x="536" y="367"/>
                  </a:cubicBezTo>
                  <a:cubicBezTo>
                    <a:pt x="536" y="367"/>
                    <a:pt x="536" y="367"/>
                    <a:pt x="536" y="367"/>
                  </a:cubicBezTo>
                  <a:cubicBezTo>
                    <a:pt x="631" y="364"/>
                    <a:pt x="747" y="384"/>
                    <a:pt x="808" y="429"/>
                  </a:cubicBezTo>
                  <a:cubicBezTo>
                    <a:pt x="836" y="420"/>
                    <a:pt x="868" y="415"/>
                    <a:pt x="903" y="413"/>
                  </a:cubicBezTo>
                  <a:cubicBezTo>
                    <a:pt x="983" y="410"/>
                    <a:pt x="1087" y="429"/>
                    <a:pt x="1125" y="478"/>
                  </a:cubicBezTo>
                  <a:cubicBezTo>
                    <a:pt x="1138" y="496"/>
                    <a:pt x="1143" y="515"/>
                    <a:pt x="1137" y="535"/>
                  </a:cubicBezTo>
                  <a:cubicBezTo>
                    <a:pt x="1075" y="782"/>
                    <a:pt x="1075" y="782"/>
                    <a:pt x="1075" y="782"/>
                  </a:cubicBezTo>
                  <a:cubicBezTo>
                    <a:pt x="1060" y="830"/>
                    <a:pt x="999" y="869"/>
                    <a:pt x="933" y="874"/>
                  </a:cubicBezTo>
                  <a:cubicBezTo>
                    <a:pt x="869" y="879"/>
                    <a:pt x="814" y="852"/>
                    <a:pt x="782" y="799"/>
                  </a:cubicBezTo>
                  <a:cubicBezTo>
                    <a:pt x="766" y="864"/>
                    <a:pt x="766" y="864"/>
                    <a:pt x="766" y="864"/>
                  </a:cubicBezTo>
                  <a:cubicBezTo>
                    <a:pt x="745" y="926"/>
                    <a:pt x="664" y="978"/>
                    <a:pt x="577" y="985"/>
                  </a:cubicBezTo>
                  <a:cubicBezTo>
                    <a:pt x="570" y="986"/>
                    <a:pt x="564" y="986"/>
                    <a:pt x="557" y="986"/>
                  </a:cubicBezTo>
                  <a:close/>
                  <a:moveTo>
                    <a:pt x="399" y="852"/>
                  </a:moveTo>
                  <a:cubicBezTo>
                    <a:pt x="446" y="945"/>
                    <a:pt x="529" y="953"/>
                    <a:pt x="574" y="949"/>
                  </a:cubicBezTo>
                  <a:cubicBezTo>
                    <a:pt x="646" y="944"/>
                    <a:pt x="715" y="902"/>
                    <a:pt x="731" y="854"/>
                  </a:cubicBezTo>
                  <a:cubicBezTo>
                    <a:pt x="815" y="516"/>
                    <a:pt x="815" y="516"/>
                    <a:pt x="815" y="516"/>
                  </a:cubicBezTo>
                  <a:cubicBezTo>
                    <a:pt x="819" y="502"/>
                    <a:pt x="816" y="489"/>
                    <a:pt x="806" y="476"/>
                  </a:cubicBezTo>
                  <a:cubicBezTo>
                    <a:pt x="771" y="430"/>
                    <a:pt x="655" y="399"/>
                    <a:pt x="537" y="403"/>
                  </a:cubicBezTo>
                  <a:cubicBezTo>
                    <a:pt x="537" y="403"/>
                    <a:pt x="537" y="403"/>
                    <a:pt x="537" y="403"/>
                  </a:cubicBezTo>
                  <a:cubicBezTo>
                    <a:pt x="436" y="407"/>
                    <a:pt x="326" y="439"/>
                    <a:pt x="319" y="519"/>
                  </a:cubicBezTo>
                  <a:lnTo>
                    <a:pt x="399" y="852"/>
                  </a:lnTo>
                  <a:close/>
                  <a:moveTo>
                    <a:pt x="807" y="771"/>
                  </a:moveTo>
                  <a:cubicBezTo>
                    <a:pt x="841" y="835"/>
                    <a:pt x="899" y="841"/>
                    <a:pt x="930" y="838"/>
                  </a:cubicBezTo>
                  <a:cubicBezTo>
                    <a:pt x="981" y="834"/>
                    <a:pt x="1030" y="805"/>
                    <a:pt x="1041" y="772"/>
                  </a:cubicBezTo>
                  <a:cubicBezTo>
                    <a:pt x="1102" y="525"/>
                    <a:pt x="1102" y="525"/>
                    <a:pt x="1102" y="525"/>
                  </a:cubicBezTo>
                  <a:cubicBezTo>
                    <a:pt x="1105" y="516"/>
                    <a:pt x="1103" y="509"/>
                    <a:pt x="1097" y="501"/>
                  </a:cubicBezTo>
                  <a:cubicBezTo>
                    <a:pt x="1072" y="469"/>
                    <a:pt x="987" y="446"/>
                    <a:pt x="904" y="449"/>
                  </a:cubicBezTo>
                  <a:cubicBezTo>
                    <a:pt x="880" y="450"/>
                    <a:pt x="858" y="453"/>
                    <a:pt x="838" y="458"/>
                  </a:cubicBezTo>
                  <a:cubicBezTo>
                    <a:pt x="852" y="479"/>
                    <a:pt x="856" y="502"/>
                    <a:pt x="850" y="526"/>
                  </a:cubicBezTo>
                  <a:cubicBezTo>
                    <a:pt x="798" y="733"/>
                    <a:pt x="798" y="733"/>
                    <a:pt x="798" y="733"/>
                  </a:cubicBezTo>
                  <a:lnTo>
                    <a:pt x="807" y="771"/>
                  </a:lnTo>
                  <a:close/>
                  <a:moveTo>
                    <a:pt x="94" y="771"/>
                  </a:moveTo>
                  <a:cubicBezTo>
                    <a:pt x="127" y="835"/>
                    <a:pt x="185" y="841"/>
                    <a:pt x="217" y="838"/>
                  </a:cubicBezTo>
                  <a:cubicBezTo>
                    <a:pt x="268" y="834"/>
                    <a:pt x="316" y="805"/>
                    <a:pt x="327" y="772"/>
                  </a:cubicBezTo>
                  <a:cubicBezTo>
                    <a:pt x="335" y="743"/>
                    <a:pt x="335" y="743"/>
                    <a:pt x="335" y="743"/>
                  </a:cubicBezTo>
                  <a:cubicBezTo>
                    <a:pt x="336" y="744"/>
                    <a:pt x="336" y="744"/>
                    <a:pt x="336" y="744"/>
                  </a:cubicBezTo>
                  <a:cubicBezTo>
                    <a:pt x="282" y="522"/>
                    <a:pt x="282" y="522"/>
                    <a:pt x="282" y="522"/>
                  </a:cubicBezTo>
                  <a:cubicBezTo>
                    <a:pt x="283" y="520"/>
                    <a:pt x="283" y="520"/>
                    <a:pt x="283" y="520"/>
                  </a:cubicBezTo>
                  <a:cubicBezTo>
                    <a:pt x="284" y="498"/>
                    <a:pt x="291" y="478"/>
                    <a:pt x="302" y="460"/>
                  </a:cubicBezTo>
                  <a:cubicBezTo>
                    <a:pt x="268" y="452"/>
                    <a:pt x="229" y="448"/>
                    <a:pt x="191" y="449"/>
                  </a:cubicBezTo>
                  <a:cubicBezTo>
                    <a:pt x="119" y="452"/>
                    <a:pt x="41" y="474"/>
                    <a:pt x="36" y="529"/>
                  </a:cubicBezTo>
                  <a:lnTo>
                    <a:pt x="94" y="771"/>
                  </a:lnTo>
                  <a:close/>
                  <a:moveTo>
                    <a:pt x="926" y="395"/>
                  </a:moveTo>
                  <a:cubicBezTo>
                    <a:pt x="853" y="395"/>
                    <a:pt x="793" y="335"/>
                    <a:pt x="793" y="262"/>
                  </a:cubicBezTo>
                  <a:cubicBezTo>
                    <a:pt x="793" y="189"/>
                    <a:pt x="853" y="129"/>
                    <a:pt x="926" y="129"/>
                  </a:cubicBezTo>
                  <a:cubicBezTo>
                    <a:pt x="999" y="129"/>
                    <a:pt x="1058" y="189"/>
                    <a:pt x="1058" y="262"/>
                  </a:cubicBezTo>
                  <a:cubicBezTo>
                    <a:pt x="1058" y="335"/>
                    <a:pt x="999" y="395"/>
                    <a:pt x="926" y="395"/>
                  </a:cubicBezTo>
                  <a:close/>
                  <a:moveTo>
                    <a:pt x="926" y="165"/>
                  </a:moveTo>
                  <a:cubicBezTo>
                    <a:pt x="873" y="165"/>
                    <a:pt x="829" y="209"/>
                    <a:pt x="829" y="262"/>
                  </a:cubicBezTo>
                  <a:cubicBezTo>
                    <a:pt x="829" y="315"/>
                    <a:pt x="873" y="359"/>
                    <a:pt x="926" y="359"/>
                  </a:cubicBezTo>
                  <a:cubicBezTo>
                    <a:pt x="979" y="359"/>
                    <a:pt x="1022" y="315"/>
                    <a:pt x="1022" y="262"/>
                  </a:cubicBezTo>
                  <a:cubicBezTo>
                    <a:pt x="1022" y="209"/>
                    <a:pt x="979" y="165"/>
                    <a:pt x="926" y="165"/>
                  </a:cubicBezTo>
                  <a:close/>
                  <a:moveTo>
                    <a:pt x="212" y="395"/>
                  </a:moveTo>
                  <a:cubicBezTo>
                    <a:pt x="139" y="395"/>
                    <a:pt x="80" y="335"/>
                    <a:pt x="80" y="262"/>
                  </a:cubicBezTo>
                  <a:cubicBezTo>
                    <a:pt x="80" y="189"/>
                    <a:pt x="139" y="129"/>
                    <a:pt x="212" y="129"/>
                  </a:cubicBezTo>
                  <a:cubicBezTo>
                    <a:pt x="285" y="129"/>
                    <a:pt x="345" y="189"/>
                    <a:pt x="345" y="262"/>
                  </a:cubicBezTo>
                  <a:cubicBezTo>
                    <a:pt x="345" y="335"/>
                    <a:pt x="285" y="395"/>
                    <a:pt x="212" y="395"/>
                  </a:cubicBezTo>
                  <a:close/>
                  <a:moveTo>
                    <a:pt x="212" y="165"/>
                  </a:moveTo>
                  <a:cubicBezTo>
                    <a:pt x="159" y="165"/>
                    <a:pt x="116" y="209"/>
                    <a:pt x="116" y="262"/>
                  </a:cubicBezTo>
                  <a:cubicBezTo>
                    <a:pt x="116" y="315"/>
                    <a:pt x="159" y="359"/>
                    <a:pt x="212" y="359"/>
                  </a:cubicBezTo>
                  <a:cubicBezTo>
                    <a:pt x="265" y="359"/>
                    <a:pt x="309" y="315"/>
                    <a:pt x="309" y="262"/>
                  </a:cubicBezTo>
                  <a:cubicBezTo>
                    <a:pt x="309" y="209"/>
                    <a:pt x="265" y="165"/>
                    <a:pt x="212" y="165"/>
                  </a:cubicBezTo>
                  <a:close/>
                  <a:moveTo>
                    <a:pt x="567" y="351"/>
                  </a:moveTo>
                  <a:cubicBezTo>
                    <a:pt x="471" y="351"/>
                    <a:pt x="392" y="272"/>
                    <a:pt x="392" y="175"/>
                  </a:cubicBezTo>
                  <a:cubicBezTo>
                    <a:pt x="392" y="79"/>
                    <a:pt x="471" y="0"/>
                    <a:pt x="567" y="0"/>
                  </a:cubicBezTo>
                  <a:cubicBezTo>
                    <a:pt x="663" y="0"/>
                    <a:pt x="742" y="79"/>
                    <a:pt x="742" y="175"/>
                  </a:cubicBezTo>
                  <a:cubicBezTo>
                    <a:pt x="742" y="272"/>
                    <a:pt x="663" y="351"/>
                    <a:pt x="567" y="351"/>
                  </a:cubicBezTo>
                  <a:close/>
                  <a:moveTo>
                    <a:pt x="567" y="36"/>
                  </a:moveTo>
                  <a:cubicBezTo>
                    <a:pt x="490" y="36"/>
                    <a:pt x="428" y="99"/>
                    <a:pt x="428" y="175"/>
                  </a:cubicBezTo>
                  <a:cubicBezTo>
                    <a:pt x="428" y="252"/>
                    <a:pt x="490" y="315"/>
                    <a:pt x="567" y="315"/>
                  </a:cubicBezTo>
                  <a:cubicBezTo>
                    <a:pt x="643" y="315"/>
                    <a:pt x="706" y="252"/>
                    <a:pt x="706" y="175"/>
                  </a:cubicBezTo>
                  <a:cubicBezTo>
                    <a:pt x="706" y="99"/>
                    <a:pt x="643" y="36"/>
                    <a:pt x="567" y="36"/>
                  </a:cubicBezTo>
                  <a:close/>
                </a:path>
              </a:pathLst>
            </a:custGeom>
            <a:solidFill>
              <a:schemeClr val="bg1"/>
            </a:solidFill>
            <a:ln>
              <a:noFill/>
            </a:ln>
          </p:spPr>
          <p:txBody>
            <a:bodyPr vert="horz" wrap="square" lIns="57150" tIns="28575" rIns="57150" bIns="28575"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6" name="Group 5">
            <a:extLst>
              <a:ext uri="{FF2B5EF4-FFF2-40B4-BE49-F238E27FC236}">
                <a16:creationId xmlns:a16="http://schemas.microsoft.com/office/drawing/2014/main" id="{5FFBB656-28D1-496F-83C1-EA62820B51D6}"/>
              </a:ext>
              <a:ext uri="{C183D7F6-B498-43B3-948B-1728B52AA6E4}">
                <adec:decorative xmlns:adec="http://schemas.microsoft.com/office/drawing/2017/decorative" val="1"/>
              </a:ext>
            </a:extLst>
          </p:cNvPr>
          <p:cNvGrpSpPr/>
          <p:nvPr/>
        </p:nvGrpSpPr>
        <p:grpSpPr>
          <a:xfrm>
            <a:off x="10778670" y="177314"/>
            <a:ext cx="1080135" cy="1080135"/>
            <a:chOff x="10778670" y="177314"/>
            <a:chExt cx="1080135" cy="1080135"/>
          </a:xfrm>
        </p:grpSpPr>
        <p:sp>
          <p:nvSpPr>
            <p:cNvPr id="64" name="Oval 63">
              <a:extLst>
                <a:ext uri="{FF2B5EF4-FFF2-40B4-BE49-F238E27FC236}">
                  <a16:creationId xmlns:a16="http://schemas.microsoft.com/office/drawing/2014/main" id="{2A0DF918-6687-441D-91D2-3A3C4FE8F2B6}"/>
                </a:ext>
                <a:ext uri="{C183D7F6-B498-43B3-948B-1728B52AA6E4}">
                  <adec:decorative xmlns:adec="http://schemas.microsoft.com/office/drawing/2017/decorative" val="1"/>
                </a:ext>
              </a:extLst>
            </p:cNvPr>
            <p:cNvSpPr/>
            <p:nvPr/>
          </p:nvSpPr>
          <p:spPr>
            <a:xfrm>
              <a:off x="10778670" y="177314"/>
              <a:ext cx="1080135" cy="1080135"/>
            </a:xfrm>
            <a:prstGeom prst="ellipse">
              <a:avLst/>
            </a:prstGeom>
            <a:gradFill>
              <a:gsLst>
                <a:gs pos="0">
                  <a:srgbClr val="8661C5"/>
                </a:gs>
                <a:gs pos="100000">
                  <a:srgbClr val="161828"/>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nvGrpSpPr>
            <p:cNvPr id="3" name="Group 2">
              <a:extLst>
                <a:ext uri="{FF2B5EF4-FFF2-40B4-BE49-F238E27FC236}">
                  <a16:creationId xmlns:a16="http://schemas.microsoft.com/office/drawing/2014/main" id="{66BC4B6E-E47D-4822-A02E-482D61BE319E}"/>
                </a:ext>
                <a:ext uri="{C183D7F6-B498-43B3-948B-1728B52AA6E4}">
                  <adec:decorative xmlns:adec="http://schemas.microsoft.com/office/drawing/2017/decorative" val="1"/>
                </a:ext>
              </a:extLst>
            </p:cNvPr>
            <p:cNvGrpSpPr/>
            <p:nvPr/>
          </p:nvGrpSpPr>
          <p:grpSpPr>
            <a:xfrm>
              <a:off x="10988201" y="460993"/>
              <a:ext cx="661073" cy="512777"/>
              <a:chOff x="10988201" y="460993"/>
              <a:chExt cx="661073" cy="512777"/>
            </a:xfrm>
          </p:grpSpPr>
          <p:sp>
            <p:nvSpPr>
              <p:cNvPr id="72" name="Freeform 51">
                <a:extLst>
                  <a:ext uri="{FF2B5EF4-FFF2-40B4-BE49-F238E27FC236}">
                    <a16:creationId xmlns:a16="http://schemas.microsoft.com/office/drawing/2014/main" id="{31D42ACA-53CB-4F8C-B130-E7CF0B72556A}"/>
                  </a:ext>
                  <a:ext uri="{C183D7F6-B498-43B3-948B-1728B52AA6E4}">
                    <adec:decorative xmlns:adec="http://schemas.microsoft.com/office/drawing/2017/decorative" val="1"/>
                  </a:ext>
                </a:extLst>
              </p:cNvPr>
              <p:cNvSpPr>
                <a:spLocks/>
              </p:cNvSpPr>
              <p:nvPr/>
            </p:nvSpPr>
            <p:spPr bwMode="auto">
              <a:xfrm>
                <a:off x="10988201" y="460993"/>
                <a:ext cx="661073" cy="512777"/>
              </a:xfrm>
              <a:custGeom>
                <a:avLst/>
                <a:gdLst>
                  <a:gd name="connsiteX0" fmla="*/ 275886 w 5364163"/>
                  <a:gd name="connsiteY0" fmla="*/ 1023938 h 4160838"/>
                  <a:gd name="connsiteX1" fmla="*/ 169863 w 5364163"/>
                  <a:gd name="connsiteY1" fmla="*/ 1121566 h 4160838"/>
                  <a:gd name="connsiteX2" fmla="*/ 907785 w 5364163"/>
                  <a:gd name="connsiteY2" fmla="*/ 3838167 h 4160838"/>
                  <a:gd name="connsiteX3" fmla="*/ 1047736 w 5364163"/>
                  <a:gd name="connsiteY3" fmla="*/ 3990976 h 4160838"/>
                  <a:gd name="connsiteX4" fmla="*/ 5055416 w 5364163"/>
                  <a:gd name="connsiteY4" fmla="*/ 3982487 h 4160838"/>
                  <a:gd name="connsiteX5" fmla="*/ 5191126 w 5364163"/>
                  <a:gd name="connsiteY5" fmla="*/ 3876370 h 4160838"/>
                  <a:gd name="connsiteX6" fmla="*/ 4419277 w 5364163"/>
                  <a:gd name="connsiteY6" fmla="*/ 1159768 h 4160838"/>
                  <a:gd name="connsiteX7" fmla="*/ 4309012 w 5364163"/>
                  <a:gd name="connsiteY7" fmla="*/ 1023938 h 4160838"/>
                  <a:gd name="connsiteX8" fmla="*/ 275886 w 5364163"/>
                  <a:gd name="connsiteY8" fmla="*/ 1023938 h 4160838"/>
                  <a:gd name="connsiteX9" fmla="*/ 4138357 w 5364163"/>
                  <a:gd name="connsiteY9" fmla="*/ 169863 h 4160838"/>
                  <a:gd name="connsiteX10" fmla="*/ 4078987 w 5364163"/>
                  <a:gd name="connsiteY10" fmla="*/ 229329 h 4160838"/>
                  <a:gd name="connsiteX11" fmla="*/ 4078987 w 5364163"/>
                  <a:gd name="connsiteY11" fmla="*/ 581878 h 4160838"/>
                  <a:gd name="connsiteX12" fmla="*/ 3994172 w 5364163"/>
                  <a:gd name="connsiteY12" fmla="*/ 666829 h 4160838"/>
                  <a:gd name="connsiteX13" fmla="*/ 1076547 w 5364163"/>
                  <a:gd name="connsiteY13" fmla="*/ 666829 h 4160838"/>
                  <a:gd name="connsiteX14" fmla="*/ 949325 w 5364163"/>
                  <a:gd name="connsiteY14" fmla="*/ 794257 h 4160838"/>
                  <a:gd name="connsiteX15" fmla="*/ 949325 w 5364163"/>
                  <a:gd name="connsiteY15" fmla="*/ 853723 h 4160838"/>
                  <a:gd name="connsiteX16" fmla="*/ 4307987 w 5364163"/>
                  <a:gd name="connsiteY16" fmla="*/ 853723 h 4160838"/>
                  <a:gd name="connsiteX17" fmla="*/ 4579394 w 5364163"/>
                  <a:gd name="connsiteY17" fmla="*/ 1108577 h 4160838"/>
                  <a:gd name="connsiteX18" fmla="*/ 5194300 w 5364163"/>
                  <a:gd name="connsiteY18" fmla="*/ 3168651 h 4160838"/>
                  <a:gd name="connsiteX19" fmla="*/ 5194300 w 5364163"/>
                  <a:gd name="connsiteY19" fmla="*/ 229329 h 4160838"/>
                  <a:gd name="connsiteX20" fmla="*/ 5134930 w 5364163"/>
                  <a:gd name="connsiteY20" fmla="*/ 169863 h 4160838"/>
                  <a:gd name="connsiteX21" fmla="*/ 4138357 w 5364163"/>
                  <a:gd name="connsiteY21" fmla="*/ 169863 h 4160838"/>
                  <a:gd name="connsiteX22" fmla="*/ 4138675 w 5364163"/>
                  <a:gd name="connsiteY22" fmla="*/ 0 h 4160838"/>
                  <a:gd name="connsiteX23" fmla="*/ 5135179 w 5364163"/>
                  <a:gd name="connsiteY23" fmla="*/ 0 h 4160838"/>
                  <a:gd name="connsiteX24" fmla="*/ 5364163 w 5364163"/>
                  <a:gd name="connsiteY24" fmla="*/ 229271 h 4160838"/>
                  <a:gd name="connsiteX25" fmla="*/ 5364163 w 5364163"/>
                  <a:gd name="connsiteY25" fmla="*/ 3825424 h 4160838"/>
                  <a:gd name="connsiteX26" fmla="*/ 5359922 w 5364163"/>
                  <a:gd name="connsiteY26" fmla="*/ 3846652 h 4160838"/>
                  <a:gd name="connsiteX27" fmla="*/ 5359922 w 5364163"/>
                  <a:gd name="connsiteY27" fmla="*/ 3850898 h 4160838"/>
                  <a:gd name="connsiteX28" fmla="*/ 5364163 w 5364163"/>
                  <a:gd name="connsiteY28" fmla="*/ 3867881 h 4160838"/>
                  <a:gd name="connsiteX29" fmla="*/ 5054610 w 5364163"/>
                  <a:gd name="connsiteY29" fmla="*/ 4152347 h 4160838"/>
                  <a:gd name="connsiteX30" fmla="*/ 1047390 w 5364163"/>
                  <a:gd name="connsiteY30" fmla="*/ 4160838 h 4160838"/>
                  <a:gd name="connsiteX31" fmla="*/ 746318 w 5364163"/>
                  <a:gd name="connsiteY31" fmla="*/ 3880618 h 4160838"/>
                  <a:gd name="connsiteX32" fmla="*/ 4241 w 5364163"/>
                  <a:gd name="connsiteY32" fmla="*/ 1154845 h 4160838"/>
                  <a:gd name="connsiteX33" fmla="*/ 0 w 5364163"/>
                  <a:gd name="connsiteY33" fmla="*/ 1133616 h 4160838"/>
                  <a:gd name="connsiteX34" fmla="*/ 275629 w 5364163"/>
                  <a:gd name="connsiteY34" fmla="*/ 853397 h 4160838"/>
                  <a:gd name="connsiteX35" fmla="*/ 780242 w 5364163"/>
                  <a:gd name="connsiteY35" fmla="*/ 853397 h 4160838"/>
                  <a:gd name="connsiteX36" fmla="*/ 780242 w 5364163"/>
                  <a:gd name="connsiteY36" fmla="*/ 793956 h 4160838"/>
                  <a:gd name="connsiteX37" fmla="*/ 1077073 w 5364163"/>
                  <a:gd name="connsiteY37" fmla="*/ 496753 h 4160838"/>
                  <a:gd name="connsiteX38" fmla="*/ 3909690 w 5364163"/>
                  <a:gd name="connsiteY38" fmla="*/ 496753 h 4160838"/>
                  <a:gd name="connsiteX39" fmla="*/ 3909690 w 5364163"/>
                  <a:gd name="connsiteY39" fmla="*/ 229271 h 4160838"/>
                  <a:gd name="connsiteX40" fmla="*/ 4138675 w 5364163"/>
                  <a:gd name="connsiteY40" fmla="*/ 0 h 416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364163" h="4160838">
                    <a:moveTo>
                      <a:pt x="275886" y="1023938"/>
                    </a:moveTo>
                    <a:cubicBezTo>
                      <a:pt x="220754" y="1023938"/>
                      <a:pt x="178345" y="1066385"/>
                      <a:pt x="169863" y="1121566"/>
                    </a:cubicBezTo>
                    <a:cubicBezTo>
                      <a:pt x="907785" y="3838167"/>
                      <a:pt x="907785" y="3838167"/>
                      <a:pt x="907785" y="3838167"/>
                    </a:cubicBezTo>
                    <a:cubicBezTo>
                      <a:pt x="950195" y="3990976"/>
                      <a:pt x="1022290" y="3990976"/>
                      <a:pt x="1047736" y="3990976"/>
                    </a:cubicBezTo>
                    <a:cubicBezTo>
                      <a:pt x="5055416" y="3982487"/>
                      <a:pt x="5055416" y="3982487"/>
                      <a:pt x="5055416" y="3982487"/>
                    </a:cubicBezTo>
                    <a:cubicBezTo>
                      <a:pt x="5119030" y="3982487"/>
                      <a:pt x="5186885" y="3927306"/>
                      <a:pt x="5191126" y="3876370"/>
                    </a:cubicBezTo>
                    <a:cubicBezTo>
                      <a:pt x="5029970" y="3150528"/>
                      <a:pt x="4775515" y="2259143"/>
                      <a:pt x="4419277" y="1159768"/>
                    </a:cubicBezTo>
                    <a:cubicBezTo>
                      <a:pt x="4376867" y="1036672"/>
                      <a:pt x="4342940" y="1023938"/>
                      <a:pt x="4309012" y="1023938"/>
                    </a:cubicBezTo>
                    <a:cubicBezTo>
                      <a:pt x="275886" y="1023938"/>
                      <a:pt x="275886" y="1023938"/>
                      <a:pt x="275886" y="1023938"/>
                    </a:cubicBezTo>
                    <a:close/>
                    <a:moveTo>
                      <a:pt x="4138357" y="169863"/>
                    </a:moveTo>
                    <a:cubicBezTo>
                      <a:pt x="4104431" y="169863"/>
                      <a:pt x="4078987" y="195349"/>
                      <a:pt x="4078987" y="229329"/>
                    </a:cubicBezTo>
                    <a:cubicBezTo>
                      <a:pt x="4078987" y="581878"/>
                      <a:pt x="4078987" y="581878"/>
                      <a:pt x="4078987" y="581878"/>
                    </a:cubicBezTo>
                    <a:cubicBezTo>
                      <a:pt x="4078987" y="628601"/>
                      <a:pt x="4040820" y="666829"/>
                      <a:pt x="3994172" y="666829"/>
                    </a:cubicBezTo>
                    <a:cubicBezTo>
                      <a:pt x="1076547" y="666829"/>
                      <a:pt x="1076547" y="666829"/>
                      <a:pt x="1076547" y="666829"/>
                    </a:cubicBezTo>
                    <a:cubicBezTo>
                      <a:pt x="1004455" y="666829"/>
                      <a:pt x="949325" y="722048"/>
                      <a:pt x="949325" y="794257"/>
                    </a:cubicBezTo>
                    <a:lnTo>
                      <a:pt x="949325" y="853723"/>
                    </a:lnTo>
                    <a:cubicBezTo>
                      <a:pt x="4307987" y="853723"/>
                      <a:pt x="4307987" y="853723"/>
                      <a:pt x="4307987" y="853723"/>
                    </a:cubicBezTo>
                    <a:cubicBezTo>
                      <a:pt x="4498820" y="853723"/>
                      <a:pt x="4553949" y="1032121"/>
                      <a:pt x="4579394" y="1108577"/>
                    </a:cubicBezTo>
                    <a:cubicBezTo>
                      <a:pt x="4833838" y="1894379"/>
                      <a:pt x="5037393" y="2573991"/>
                      <a:pt x="5194300" y="3168651"/>
                    </a:cubicBezTo>
                    <a:cubicBezTo>
                      <a:pt x="5194300" y="229329"/>
                      <a:pt x="5194300" y="229329"/>
                      <a:pt x="5194300" y="229329"/>
                    </a:cubicBezTo>
                    <a:cubicBezTo>
                      <a:pt x="5194300" y="195349"/>
                      <a:pt x="5168856" y="169863"/>
                      <a:pt x="5134930" y="169863"/>
                    </a:cubicBezTo>
                    <a:cubicBezTo>
                      <a:pt x="4138357" y="169863"/>
                      <a:pt x="4138357" y="169863"/>
                      <a:pt x="4138357" y="169863"/>
                    </a:cubicBezTo>
                    <a:close/>
                    <a:moveTo>
                      <a:pt x="4138675" y="0"/>
                    </a:moveTo>
                    <a:cubicBezTo>
                      <a:pt x="5135179" y="0"/>
                      <a:pt x="5135179" y="0"/>
                      <a:pt x="5135179" y="0"/>
                    </a:cubicBezTo>
                    <a:cubicBezTo>
                      <a:pt x="5262392" y="0"/>
                      <a:pt x="5364163" y="101898"/>
                      <a:pt x="5364163" y="229271"/>
                    </a:cubicBezTo>
                    <a:cubicBezTo>
                      <a:pt x="5364163" y="3825424"/>
                      <a:pt x="5364163" y="3825424"/>
                      <a:pt x="5364163" y="3825424"/>
                    </a:cubicBezTo>
                    <a:cubicBezTo>
                      <a:pt x="5364163" y="3829669"/>
                      <a:pt x="5359922" y="3838161"/>
                      <a:pt x="5359922" y="3846652"/>
                    </a:cubicBezTo>
                    <a:cubicBezTo>
                      <a:pt x="5359922" y="3846652"/>
                      <a:pt x="5359922" y="3846652"/>
                      <a:pt x="5359922" y="3850898"/>
                    </a:cubicBezTo>
                    <a:cubicBezTo>
                      <a:pt x="5359922" y="3855144"/>
                      <a:pt x="5364163" y="3863635"/>
                      <a:pt x="5364163" y="3867881"/>
                    </a:cubicBezTo>
                    <a:cubicBezTo>
                      <a:pt x="5364163" y="4033466"/>
                      <a:pt x="5198786" y="4152347"/>
                      <a:pt x="5054610" y="4152347"/>
                    </a:cubicBezTo>
                    <a:lnTo>
                      <a:pt x="1047390" y="4160838"/>
                    </a:lnTo>
                    <a:cubicBezTo>
                      <a:pt x="962581" y="4160838"/>
                      <a:pt x="809925" y="4126872"/>
                      <a:pt x="746318" y="3880618"/>
                    </a:cubicBezTo>
                    <a:cubicBezTo>
                      <a:pt x="4241" y="1154845"/>
                      <a:pt x="4241" y="1154845"/>
                      <a:pt x="4241" y="1154845"/>
                    </a:cubicBezTo>
                    <a:cubicBezTo>
                      <a:pt x="4241" y="1146354"/>
                      <a:pt x="0" y="1142108"/>
                      <a:pt x="0" y="1133616"/>
                    </a:cubicBezTo>
                    <a:cubicBezTo>
                      <a:pt x="0" y="980769"/>
                      <a:pt x="127213" y="853397"/>
                      <a:pt x="275629" y="853397"/>
                    </a:cubicBezTo>
                    <a:cubicBezTo>
                      <a:pt x="780242" y="853397"/>
                      <a:pt x="780242" y="853397"/>
                      <a:pt x="780242" y="853397"/>
                    </a:cubicBezTo>
                    <a:cubicBezTo>
                      <a:pt x="780242" y="793956"/>
                      <a:pt x="780242" y="793956"/>
                      <a:pt x="780242" y="793956"/>
                    </a:cubicBezTo>
                    <a:cubicBezTo>
                      <a:pt x="780242" y="628372"/>
                      <a:pt x="911696" y="496753"/>
                      <a:pt x="1077073" y="496753"/>
                    </a:cubicBezTo>
                    <a:cubicBezTo>
                      <a:pt x="3909690" y="496753"/>
                      <a:pt x="3909690" y="496753"/>
                      <a:pt x="3909690" y="496753"/>
                    </a:cubicBezTo>
                    <a:cubicBezTo>
                      <a:pt x="3909690" y="229271"/>
                      <a:pt x="3909690" y="229271"/>
                      <a:pt x="3909690" y="229271"/>
                    </a:cubicBezTo>
                    <a:cubicBezTo>
                      <a:pt x="3909690" y="101898"/>
                      <a:pt x="4011461" y="0"/>
                      <a:pt x="41386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sp>
            <p:nvSpPr>
              <p:cNvPr id="73" name="Freeform 54">
                <a:extLst>
                  <a:ext uri="{FF2B5EF4-FFF2-40B4-BE49-F238E27FC236}">
                    <a16:creationId xmlns:a16="http://schemas.microsoft.com/office/drawing/2014/main" id="{E9743B18-0406-4A24-807F-B501B2AE81B1}"/>
                  </a:ext>
                  <a:ext uri="{C183D7F6-B498-43B3-948B-1728B52AA6E4}">
                    <adec:decorative xmlns:adec="http://schemas.microsoft.com/office/drawing/2017/decorative" val="1"/>
                  </a:ext>
                </a:extLst>
              </p:cNvPr>
              <p:cNvSpPr>
                <a:spLocks noChangeArrowheads="1"/>
              </p:cNvSpPr>
              <p:nvPr/>
            </p:nvSpPr>
            <p:spPr bwMode="auto">
              <a:xfrm>
                <a:off x="11209276" y="651548"/>
                <a:ext cx="185468" cy="218141"/>
              </a:xfrm>
              <a:custGeom>
                <a:avLst/>
                <a:gdLst>
                  <a:gd name="connsiteX0" fmla="*/ 761207 w 1504950"/>
                  <a:gd name="connsiteY0" fmla="*/ 958850 h 1770063"/>
                  <a:gd name="connsiteX1" fmla="*/ 895351 w 1504950"/>
                  <a:gd name="connsiteY1" fmla="*/ 1092994 h 1770063"/>
                  <a:gd name="connsiteX2" fmla="*/ 856062 w 1504950"/>
                  <a:gd name="connsiteY2" fmla="*/ 1187848 h 1770063"/>
                  <a:gd name="connsiteX3" fmla="*/ 847726 w 1504950"/>
                  <a:gd name="connsiteY3" fmla="*/ 1193468 h 1770063"/>
                  <a:gd name="connsiteX4" fmla="*/ 847726 w 1504950"/>
                  <a:gd name="connsiteY4" fmla="*/ 1238227 h 1770063"/>
                  <a:gd name="connsiteX5" fmla="*/ 847726 w 1504950"/>
                  <a:gd name="connsiteY5" fmla="*/ 1315254 h 1770063"/>
                  <a:gd name="connsiteX6" fmla="*/ 762795 w 1504950"/>
                  <a:gd name="connsiteY6" fmla="*/ 1400175 h 1770063"/>
                  <a:gd name="connsiteX7" fmla="*/ 677863 w 1504950"/>
                  <a:gd name="connsiteY7" fmla="*/ 1315254 h 1770063"/>
                  <a:gd name="connsiteX8" fmla="*/ 677863 w 1504950"/>
                  <a:gd name="connsiteY8" fmla="*/ 1209699 h 1770063"/>
                  <a:gd name="connsiteX9" fmla="*/ 677863 w 1504950"/>
                  <a:gd name="connsiteY9" fmla="*/ 1195609 h 1770063"/>
                  <a:gd name="connsiteX10" fmla="*/ 666353 w 1504950"/>
                  <a:gd name="connsiteY10" fmla="*/ 1187848 h 1770063"/>
                  <a:gd name="connsiteX11" fmla="*/ 627063 w 1504950"/>
                  <a:gd name="connsiteY11" fmla="*/ 1092994 h 1770063"/>
                  <a:gd name="connsiteX12" fmla="*/ 761207 w 1504950"/>
                  <a:gd name="connsiteY12" fmla="*/ 958850 h 1770063"/>
                  <a:gd name="connsiteX13" fmla="*/ 369196 w 1504950"/>
                  <a:gd name="connsiteY13" fmla="*/ 720726 h 1770063"/>
                  <a:gd name="connsiteX14" fmla="*/ 364774 w 1504950"/>
                  <a:gd name="connsiteY14" fmla="*/ 721626 h 1770063"/>
                  <a:gd name="connsiteX15" fmla="*/ 233421 w 1504950"/>
                  <a:gd name="connsiteY15" fmla="*/ 721626 h 1770063"/>
                  <a:gd name="connsiteX16" fmla="*/ 169863 w 1504950"/>
                  <a:gd name="connsiteY16" fmla="*/ 789535 h 1770063"/>
                  <a:gd name="connsiteX17" fmla="*/ 169863 w 1504950"/>
                  <a:gd name="connsiteY17" fmla="*/ 1468627 h 1770063"/>
                  <a:gd name="connsiteX18" fmla="*/ 216472 w 1504950"/>
                  <a:gd name="connsiteY18" fmla="*/ 1532292 h 1770063"/>
                  <a:gd name="connsiteX19" fmla="*/ 741883 w 1504950"/>
                  <a:gd name="connsiteY19" fmla="*/ 1600201 h 1770063"/>
                  <a:gd name="connsiteX20" fmla="*/ 1284242 w 1504950"/>
                  <a:gd name="connsiteY20" fmla="*/ 1536536 h 1770063"/>
                  <a:gd name="connsiteX21" fmla="*/ 1335088 w 1504950"/>
                  <a:gd name="connsiteY21" fmla="*/ 1472871 h 1770063"/>
                  <a:gd name="connsiteX22" fmla="*/ 1335088 w 1504950"/>
                  <a:gd name="connsiteY22" fmla="*/ 789535 h 1770063"/>
                  <a:gd name="connsiteX23" fmla="*/ 1271530 w 1504950"/>
                  <a:gd name="connsiteY23" fmla="*/ 721626 h 1770063"/>
                  <a:gd name="connsiteX24" fmla="*/ 1148652 w 1504950"/>
                  <a:gd name="connsiteY24" fmla="*/ 721626 h 1770063"/>
                  <a:gd name="connsiteX25" fmla="*/ 1144231 w 1504950"/>
                  <a:gd name="connsiteY25" fmla="*/ 720726 h 1770063"/>
                  <a:gd name="connsiteX26" fmla="*/ 1010593 w 1504950"/>
                  <a:gd name="connsiteY26" fmla="*/ 720726 h 1770063"/>
                  <a:gd name="connsiteX27" fmla="*/ 376466 w 1504950"/>
                  <a:gd name="connsiteY27" fmla="*/ 720726 h 1770063"/>
                  <a:gd name="connsiteX28" fmla="*/ 754594 w 1504950"/>
                  <a:gd name="connsiteY28" fmla="*/ 169863 h 1770063"/>
                  <a:gd name="connsiteX29" fmla="*/ 525787 w 1504950"/>
                  <a:gd name="connsiteY29" fmla="*/ 258994 h 1770063"/>
                  <a:gd name="connsiteX30" fmla="*/ 449517 w 1504950"/>
                  <a:gd name="connsiteY30" fmla="*/ 530631 h 1770063"/>
                  <a:gd name="connsiteX31" fmla="*/ 449517 w 1504950"/>
                  <a:gd name="connsiteY31" fmla="*/ 550863 h 1770063"/>
                  <a:gd name="connsiteX32" fmla="*/ 502295 w 1504950"/>
                  <a:gd name="connsiteY32" fmla="*/ 550863 h 1770063"/>
                  <a:gd name="connsiteX33" fmla="*/ 1050621 w 1504950"/>
                  <a:gd name="connsiteY33" fmla="*/ 550863 h 1770063"/>
                  <a:gd name="connsiteX34" fmla="*/ 1063909 w 1504950"/>
                  <a:gd name="connsiteY34" fmla="*/ 550863 h 1770063"/>
                  <a:gd name="connsiteX35" fmla="*/ 1063909 w 1504950"/>
                  <a:gd name="connsiteY35" fmla="*/ 543895 h 1770063"/>
                  <a:gd name="connsiteX36" fmla="*/ 1063909 w 1504950"/>
                  <a:gd name="connsiteY36" fmla="*/ 530631 h 1770063"/>
                  <a:gd name="connsiteX37" fmla="*/ 987639 w 1504950"/>
                  <a:gd name="connsiteY37" fmla="*/ 258994 h 1770063"/>
                  <a:gd name="connsiteX38" fmla="*/ 754594 w 1504950"/>
                  <a:gd name="connsiteY38" fmla="*/ 169863 h 1770063"/>
                  <a:gd name="connsiteX39" fmla="*/ 754595 w 1504950"/>
                  <a:gd name="connsiteY39" fmla="*/ 0 h 1770063"/>
                  <a:gd name="connsiteX40" fmla="*/ 1114935 w 1504950"/>
                  <a:gd name="connsiteY40" fmla="*/ 148567 h 1770063"/>
                  <a:gd name="connsiteX41" fmla="*/ 1233635 w 1504950"/>
                  <a:gd name="connsiteY41" fmla="*/ 530595 h 1770063"/>
                  <a:gd name="connsiteX42" fmla="*/ 1233635 w 1504950"/>
                  <a:gd name="connsiteY42" fmla="*/ 551818 h 1770063"/>
                  <a:gd name="connsiteX43" fmla="*/ 1271789 w 1504950"/>
                  <a:gd name="connsiteY43" fmla="*/ 551818 h 1770063"/>
                  <a:gd name="connsiteX44" fmla="*/ 1504950 w 1504950"/>
                  <a:gd name="connsiteY44" fmla="*/ 789525 h 1770063"/>
                  <a:gd name="connsiteX45" fmla="*/ 1504950 w 1504950"/>
                  <a:gd name="connsiteY45" fmla="*/ 1472930 h 1770063"/>
                  <a:gd name="connsiteX46" fmla="*/ 1322660 w 1504950"/>
                  <a:gd name="connsiteY46" fmla="*/ 1702147 h 1770063"/>
                  <a:gd name="connsiteX47" fmla="*/ 741877 w 1504950"/>
                  <a:gd name="connsiteY47" fmla="*/ 1770063 h 1770063"/>
                  <a:gd name="connsiteX48" fmla="*/ 178051 w 1504950"/>
                  <a:gd name="connsiteY48" fmla="*/ 1697902 h 1770063"/>
                  <a:gd name="connsiteX49" fmla="*/ 0 w 1504950"/>
                  <a:gd name="connsiteY49" fmla="*/ 1468686 h 1770063"/>
                  <a:gd name="connsiteX50" fmla="*/ 0 w 1504950"/>
                  <a:gd name="connsiteY50" fmla="*/ 789525 h 1770063"/>
                  <a:gd name="connsiteX51" fmla="*/ 233162 w 1504950"/>
                  <a:gd name="connsiteY51" fmla="*/ 551818 h 1770063"/>
                  <a:gd name="connsiteX52" fmla="*/ 279794 w 1504950"/>
                  <a:gd name="connsiteY52" fmla="*/ 551818 h 1770063"/>
                  <a:gd name="connsiteX53" fmla="*/ 279794 w 1504950"/>
                  <a:gd name="connsiteY53" fmla="*/ 530595 h 1770063"/>
                  <a:gd name="connsiteX54" fmla="*/ 398494 w 1504950"/>
                  <a:gd name="connsiteY54" fmla="*/ 148567 h 1770063"/>
                  <a:gd name="connsiteX55" fmla="*/ 754595 w 1504950"/>
                  <a:gd name="connsiteY55" fmla="*/ 0 h 17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04950" h="1770063">
                    <a:moveTo>
                      <a:pt x="761207" y="958850"/>
                    </a:moveTo>
                    <a:cubicBezTo>
                      <a:pt x="835293" y="958850"/>
                      <a:pt x="895351" y="1018908"/>
                      <a:pt x="895351" y="1092994"/>
                    </a:cubicBezTo>
                    <a:cubicBezTo>
                      <a:pt x="895351" y="1130037"/>
                      <a:pt x="880337" y="1163573"/>
                      <a:pt x="856062" y="1187848"/>
                    </a:cubicBezTo>
                    <a:lnTo>
                      <a:pt x="847726" y="1193468"/>
                    </a:lnTo>
                    <a:lnTo>
                      <a:pt x="847726" y="1238227"/>
                    </a:lnTo>
                    <a:cubicBezTo>
                      <a:pt x="847726" y="1315254"/>
                      <a:pt x="847726" y="1315254"/>
                      <a:pt x="847726" y="1315254"/>
                    </a:cubicBezTo>
                    <a:cubicBezTo>
                      <a:pt x="847726" y="1361960"/>
                      <a:pt x="809507" y="1400175"/>
                      <a:pt x="762795" y="1400175"/>
                    </a:cubicBezTo>
                    <a:cubicBezTo>
                      <a:pt x="716082" y="1400175"/>
                      <a:pt x="677863" y="1361960"/>
                      <a:pt x="677863" y="1315254"/>
                    </a:cubicBezTo>
                    <a:cubicBezTo>
                      <a:pt x="677863" y="1269608"/>
                      <a:pt x="677863" y="1235374"/>
                      <a:pt x="677863" y="1209699"/>
                    </a:cubicBezTo>
                    <a:lnTo>
                      <a:pt x="677863" y="1195609"/>
                    </a:lnTo>
                    <a:lnTo>
                      <a:pt x="666353" y="1187848"/>
                    </a:lnTo>
                    <a:cubicBezTo>
                      <a:pt x="642078" y="1163573"/>
                      <a:pt x="627063" y="1130037"/>
                      <a:pt x="627063" y="1092994"/>
                    </a:cubicBezTo>
                    <a:cubicBezTo>
                      <a:pt x="627063" y="1018908"/>
                      <a:pt x="687121" y="958850"/>
                      <a:pt x="761207" y="958850"/>
                    </a:cubicBezTo>
                    <a:close/>
                    <a:moveTo>
                      <a:pt x="369196" y="720726"/>
                    </a:moveTo>
                    <a:lnTo>
                      <a:pt x="364774" y="721626"/>
                    </a:lnTo>
                    <a:lnTo>
                      <a:pt x="233421" y="721626"/>
                    </a:lnTo>
                    <a:cubicBezTo>
                      <a:pt x="199524" y="721626"/>
                      <a:pt x="169863" y="751336"/>
                      <a:pt x="169863" y="789535"/>
                    </a:cubicBezTo>
                    <a:cubicBezTo>
                      <a:pt x="169863" y="1468627"/>
                      <a:pt x="169863" y="1468627"/>
                      <a:pt x="169863" y="1468627"/>
                    </a:cubicBezTo>
                    <a:cubicBezTo>
                      <a:pt x="169863" y="1498337"/>
                      <a:pt x="186812" y="1523803"/>
                      <a:pt x="216472" y="1532292"/>
                    </a:cubicBezTo>
                    <a:cubicBezTo>
                      <a:pt x="322402" y="1557758"/>
                      <a:pt x="534261" y="1600201"/>
                      <a:pt x="741883" y="1600201"/>
                    </a:cubicBezTo>
                    <a:cubicBezTo>
                      <a:pt x="949505" y="1600201"/>
                      <a:pt x="1169838" y="1557758"/>
                      <a:pt x="1284242" y="1536536"/>
                    </a:cubicBezTo>
                    <a:cubicBezTo>
                      <a:pt x="1313902" y="1528048"/>
                      <a:pt x="1335088" y="1502582"/>
                      <a:pt x="1335088" y="1472871"/>
                    </a:cubicBezTo>
                    <a:cubicBezTo>
                      <a:pt x="1335088" y="789535"/>
                      <a:pt x="1335088" y="789535"/>
                      <a:pt x="1335088" y="789535"/>
                    </a:cubicBezTo>
                    <a:cubicBezTo>
                      <a:pt x="1335088" y="751336"/>
                      <a:pt x="1305428" y="721626"/>
                      <a:pt x="1271530" y="721626"/>
                    </a:cubicBezTo>
                    <a:cubicBezTo>
                      <a:pt x="1148652" y="721626"/>
                      <a:pt x="1148652" y="721626"/>
                      <a:pt x="1148652" y="721626"/>
                    </a:cubicBezTo>
                    <a:lnTo>
                      <a:pt x="1144231" y="720726"/>
                    </a:lnTo>
                    <a:lnTo>
                      <a:pt x="1010593" y="720726"/>
                    </a:lnTo>
                    <a:cubicBezTo>
                      <a:pt x="536578" y="720726"/>
                      <a:pt x="410173" y="720726"/>
                      <a:pt x="376466" y="720726"/>
                    </a:cubicBezTo>
                    <a:close/>
                    <a:moveTo>
                      <a:pt x="754594" y="169863"/>
                    </a:moveTo>
                    <a:cubicBezTo>
                      <a:pt x="652902" y="169863"/>
                      <a:pt x="576633" y="199573"/>
                      <a:pt x="525787" y="258994"/>
                    </a:cubicBezTo>
                    <a:cubicBezTo>
                      <a:pt x="474940" y="318415"/>
                      <a:pt x="449517" y="411790"/>
                      <a:pt x="449517" y="530631"/>
                    </a:cubicBezTo>
                    <a:lnTo>
                      <a:pt x="449517" y="550863"/>
                    </a:lnTo>
                    <a:lnTo>
                      <a:pt x="502295" y="550863"/>
                    </a:lnTo>
                    <a:cubicBezTo>
                      <a:pt x="803942" y="550863"/>
                      <a:pt x="964820" y="550863"/>
                      <a:pt x="1050621" y="550863"/>
                    </a:cubicBezTo>
                    <a:lnTo>
                      <a:pt x="1063909" y="550863"/>
                    </a:lnTo>
                    <a:lnTo>
                      <a:pt x="1063909" y="543895"/>
                    </a:lnTo>
                    <a:cubicBezTo>
                      <a:pt x="1063909" y="530631"/>
                      <a:pt x="1063909" y="530631"/>
                      <a:pt x="1063909" y="530631"/>
                    </a:cubicBezTo>
                    <a:cubicBezTo>
                      <a:pt x="1063909" y="411790"/>
                      <a:pt x="1038485" y="318415"/>
                      <a:pt x="987639" y="258994"/>
                    </a:cubicBezTo>
                    <a:cubicBezTo>
                      <a:pt x="932556" y="199573"/>
                      <a:pt x="860524" y="169863"/>
                      <a:pt x="754594" y="169863"/>
                    </a:cubicBezTo>
                    <a:close/>
                    <a:moveTo>
                      <a:pt x="754595" y="0"/>
                    </a:moveTo>
                    <a:cubicBezTo>
                      <a:pt x="911449" y="0"/>
                      <a:pt x="1030149" y="50937"/>
                      <a:pt x="1114935" y="148567"/>
                    </a:cubicBezTo>
                    <a:cubicBezTo>
                      <a:pt x="1195482" y="241951"/>
                      <a:pt x="1233635" y="369294"/>
                      <a:pt x="1233635" y="530595"/>
                    </a:cubicBezTo>
                    <a:cubicBezTo>
                      <a:pt x="1233635" y="551818"/>
                      <a:pt x="1233635" y="551818"/>
                      <a:pt x="1233635" y="551818"/>
                    </a:cubicBezTo>
                    <a:cubicBezTo>
                      <a:pt x="1271789" y="551818"/>
                      <a:pt x="1271789" y="551818"/>
                      <a:pt x="1271789" y="551818"/>
                    </a:cubicBezTo>
                    <a:cubicBezTo>
                      <a:pt x="1398968" y="551818"/>
                      <a:pt x="1504950" y="657937"/>
                      <a:pt x="1504950" y="789525"/>
                    </a:cubicBezTo>
                    <a:cubicBezTo>
                      <a:pt x="1504950" y="1472930"/>
                      <a:pt x="1504950" y="1472930"/>
                      <a:pt x="1504950" y="1472930"/>
                    </a:cubicBezTo>
                    <a:cubicBezTo>
                      <a:pt x="1504950" y="1583294"/>
                      <a:pt x="1428643" y="1676679"/>
                      <a:pt x="1322660" y="1702147"/>
                    </a:cubicBezTo>
                    <a:cubicBezTo>
                      <a:pt x="1199721" y="1727616"/>
                      <a:pt x="962320" y="1770063"/>
                      <a:pt x="741877" y="1770063"/>
                    </a:cubicBezTo>
                    <a:cubicBezTo>
                      <a:pt x="517194" y="1770063"/>
                      <a:pt x="292512" y="1723371"/>
                      <a:pt x="178051" y="1697902"/>
                    </a:cubicBezTo>
                    <a:cubicBezTo>
                      <a:pt x="72068" y="1672434"/>
                      <a:pt x="0" y="1574804"/>
                      <a:pt x="0" y="1468686"/>
                    </a:cubicBezTo>
                    <a:cubicBezTo>
                      <a:pt x="0" y="789525"/>
                      <a:pt x="0" y="789525"/>
                      <a:pt x="0" y="789525"/>
                    </a:cubicBezTo>
                    <a:cubicBezTo>
                      <a:pt x="0" y="657937"/>
                      <a:pt x="105983" y="551818"/>
                      <a:pt x="233162" y="551818"/>
                    </a:cubicBezTo>
                    <a:cubicBezTo>
                      <a:pt x="279794" y="551818"/>
                      <a:pt x="279794" y="551818"/>
                      <a:pt x="279794" y="551818"/>
                    </a:cubicBezTo>
                    <a:cubicBezTo>
                      <a:pt x="279794" y="530595"/>
                      <a:pt x="279794" y="530595"/>
                      <a:pt x="279794" y="530595"/>
                    </a:cubicBezTo>
                    <a:cubicBezTo>
                      <a:pt x="279794" y="369294"/>
                      <a:pt x="317947" y="241951"/>
                      <a:pt x="398494" y="148567"/>
                    </a:cubicBezTo>
                    <a:cubicBezTo>
                      <a:pt x="483280" y="50937"/>
                      <a:pt x="601980" y="0"/>
                      <a:pt x="75459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no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black"/>
                  </a:solidFill>
                  <a:effectLst/>
                  <a:uLnTx/>
                  <a:uFillTx/>
                  <a:latin typeface="Helvetica"/>
                  <a:ea typeface="+mn-ea"/>
                  <a:cs typeface="+mn-cs"/>
                </a:endParaRPr>
              </a:p>
            </p:txBody>
          </p:sp>
        </p:grpSp>
      </p:grpSp>
    </p:spTree>
    <p:custDataLst>
      <p:tags r:id="rId1"/>
    </p:custDataLst>
    <p:extLst>
      <p:ext uri="{BB962C8B-B14F-4D97-AF65-F5344CB8AC3E}">
        <p14:creationId xmlns:p14="http://schemas.microsoft.com/office/powerpoint/2010/main" val="3154492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Application Insights overview</a:t>
            </a:r>
            <a:endParaRPr lang="en-US" dirty="0"/>
          </a:p>
        </p:txBody>
      </p:sp>
      <p:pic>
        <p:nvPicPr>
          <p:cNvPr id="2" name="Picture 1">
            <a:extLst>
              <a:ext uri="{FF2B5EF4-FFF2-40B4-BE49-F238E27FC236}">
                <a16:creationId xmlns:a16="http://schemas.microsoft.com/office/drawing/2014/main" id="{DCF68D20-77EA-3AF5-F06D-F6CD5DDDAC2D}"/>
              </a:ext>
            </a:extLst>
          </p:cNvPr>
          <p:cNvPicPr>
            <a:picLocks noChangeAspect="1"/>
          </p:cNvPicPr>
          <p:nvPr/>
        </p:nvPicPr>
        <p:blipFill>
          <a:blip r:embed="rId4"/>
          <a:stretch>
            <a:fillRect/>
          </a:stretch>
        </p:blipFill>
        <p:spPr>
          <a:xfrm>
            <a:off x="588263" y="962361"/>
            <a:ext cx="7385305" cy="5099890"/>
          </a:xfrm>
          <a:prstGeom prst="rect">
            <a:avLst/>
          </a:prstGeom>
        </p:spPr>
      </p:pic>
      <p:sp>
        <p:nvSpPr>
          <p:cNvPr id="5" name="Text Placeholder 4">
            <a:extLst>
              <a:ext uri="{FF2B5EF4-FFF2-40B4-BE49-F238E27FC236}">
                <a16:creationId xmlns:a16="http://schemas.microsoft.com/office/drawing/2014/main" id="{760A70DE-1F1C-6FA1-C2D6-4413BDE90D51}"/>
              </a:ext>
            </a:extLst>
          </p:cNvPr>
          <p:cNvSpPr txBox="1">
            <a:spLocks/>
          </p:cNvSpPr>
          <p:nvPr/>
        </p:nvSpPr>
        <p:spPr>
          <a:xfrm>
            <a:off x="8101584" y="1568755"/>
            <a:ext cx="4017264" cy="245503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1000"/>
              </a:spcBef>
              <a:buNone/>
            </a:pPr>
            <a:endParaRPr lang="en-US" sz="2400" dirty="0">
              <a:solidFill>
                <a:schemeClr val="accent3">
                  <a:lumMod val="50000"/>
                </a:schemeClr>
              </a:solidFill>
              <a:latin typeface="+mj-lt"/>
              <a:cs typeface="Arial"/>
            </a:endParaRPr>
          </a:p>
          <a:p>
            <a:pPr marL="0" indent="0">
              <a:lnSpc>
                <a:spcPct val="90000"/>
              </a:lnSpc>
              <a:spcBef>
                <a:spcPts val="1000"/>
              </a:spcBef>
              <a:buNone/>
            </a:pPr>
            <a:r>
              <a:rPr lang="en-US" sz="2400" dirty="0">
                <a:solidFill>
                  <a:schemeClr val="accent3">
                    <a:lumMod val="50000"/>
                  </a:schemeClr>
                </a:solidFill>
                <a:latin typeface="+mj-lt"/>
                <a:cs typeface="+mn-cs"/>
              </a:rPr>
              <a:t>Azure Monitor Application Insights, a feature for Azure Monitor, excels in Application Performance Management (APM) for live web applications.</a:t>
            </a:r>
            <a:endParaRPr lang="en-US" sz="2000" b="1" dirty="0">
              <a:solidFill>
                <a:schemeClr val="accent3">
                  <a:lumMod val="50000"/>
                </a:schemeClr>
              </a:solidFill>
              <a:latin typeface="+mj-lt"/>
            </a:endParaRPr>
          </a:p>
        </p:txBody>
      </p:sp>
    </p:spTree>
    <p:custDataLst>
      <p:tags r:id="rId1"/>
    </p:custDataLst>
    <p:extLst>
      <p:ext uri="{BB962C8B-B14F-4D97-AF65-F5344CB8AC3E}">
        <p14:creationId xmlns:p14="http://schemas.microsoft.com/office/powerpoint/2010/main" val="37576101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Application Insights overview – the Logic Model</a:t>
            </a:r>
            <a:endParaRPr lang="en-US" dirty="0"/>
          </a:p>
        </p:txBody>
      </p:sp>
      <p:sp>
        <p:nvSpPr>
          <p:cNvPr id="5" name="Text Placeholder 4">
            <a:extLst>
              <a:ext uri="{FF2B5EF4-FFF2-40B4-BE49-F238E27FC236}">
                <a16:creationId xmlns:a16="http://schemas.microsoft.com/office/drawing/2014/main" id="{760A70DE-1F1C-6FA1-C2D6-4413BDE90D51}"/>
              </a:ext>
            </a:extLst>
          </p:cNvPr>
          <p:cNvSpPr txBox="1">
            <a:spLocks/>
          </p:cNvSpPr>
          <p:nvPr/>
        </p:nvSpPr>
        <p:spPr>
          <a:xfrm>
            <a:off x="606551" y="1001301"/>
            <a:ext cx="9729215" cy="66479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1000"/>
              </a:spcBef>
              <a:buNone/>
            </a:pPr>
            <a:r>
              <a:rPr lang="en-US" sz="2400" dirty="0">
                <a:solidFill>
                  <a:schemeClr val="accent3">
                    <a:lumMod val="50000"/>
                  </a:schemeClr>
                </a:solidFill>
                <a:latin typeface="+mj-lt"/>
                <a:cs typeface="+mn-cs"/>
              </a:rPr>
              <a:t>The Logic Model diagram visualizes components of Application Insights and how they interact.</a:t>
            </a:r>
            <a:endParaRPr lang="en-US" sz="2000" b="1" dirty="0">
              <a:solidFill>
                <a:schemeClr val="accent3">
                  <a:lumMod val="50000"/>
                </a:schemeClr>
              </a:solidFill>
              <a:latin typeface="+mj-lt"/>
            </a:endParaRPr>
          </a:p>
        </p:txBody>
      </p:sp>
      <p:pic>
        <p:nvPicPr>
          <p:cNvPr id="3" name="Picture 2">
            <a:extLst>
              <a:ext uri="{FF2B5EF4-FFF2-40B4-BE49-F238E27FC236}">
                <a16:creationId xmlns:a16="http://schemas.microsoft.com/office/drawing/2014/main" id="{06408A31-51D1-226C-91D5-5C5779F85F03}"/>
              </a:ext>
            </a:extLst>
          </p:cNvPr>
          <p:cNvPicPr>
            <a:picLocks noChangeAspect="1"/>
          </p:cNvPicPr>
          <p:nvPr/>
        </p:nvPicPr>
        <p:blipFill>
          <a:blip r:embed="rId4"/>
          <a:stretch>
            <a:fillRect/>
          </a:stretch>
        </p:blipFill>
        <p:spPr>
          <a:xfrm>
            <a:off x="219456" y="1804998"/>
            <a:ext cx="11484864" cy="4847599"/>
          </a:xfrm>
          <a:prstGeom prst="rect">
            <a:avLst/>
          </a:prstGeom>
        </p:spPr>
      </p:pic>
    </p:spTree>
    <p:custDataLst>
      <p:tags r:id="rId1"/>
    </p:custDataLst>
    <p:extLst>
      <p:ext uri="{BB962C8B-B14F-4D97-AF65-F5344CB8AC3E}">
        <p14:creationId xmlns:p14="http://schemas.microsoft.com/office/powerpoint/2010/main" val="4807550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tLang="zh-CN" sz="4800" spc="0" dirty="0">
                <a:ln>
                  <a:noFill/>
                </a:ln>
                <a:solidFill>
                  <a:schemeClr val="bg1"/>
                </a:solidFill>
                <a:latin typeface="+mj-lt"/>
              </a:rPr>
              <a:t>Exercise three: improve and deploy your application (part two)</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39345367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exercise,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30728130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three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877968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a:t>
            </a:r>
            <a:r>
              <a:rPr kumimoji="0" lang="en-US" b="1" i="0" u="none" strike="noStrike" kern="1200" cap="none" spc="0" normalizeH="0" baseline="0" noProof="0" dirty="0" err="1">
                <a:ln>
                  <a:noFill/>
                </a:ln>
                <a:solidFill>
                  <a:srgbClr val="444444"/>
                </a:solidFill>
                <a:effectLst/>
                <a:uLnTx/>
                <a:uFillTx/>
                <a:latin typeface="Courier New"/>
                <a:cs typeface="Courier New"/>
              </a:rPr>
              <a:t>InfrastructureAsCode</a:t>
            </a:r>
            <a:r>
              <a:rPr kumimoji="0" lang="en-US" b="1" i="0" u="none" strike="noStrike" kern="1200" cap="none" spc="0" normalizeH="0" baseline="0" noProof="0" dirty="0">
                <a:ln>
                  <a:noFill/>
                </a:ln>
                <a:solidFill>
                  <a:srgbClr val="444444"/>
                </a:solidFill>
                <a:effectLst/>
                <a:uLnTx/>
                <a:uFillTx/>
                <a:latin typeface="Courier New"/>
                <a:cs typeface="Courier New"/>
              </a:rPr>
              <a:t>/</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75711079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87FE99-E9EA-AB4B-66CE-242B2BE73AAA}"/>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dirty="0">
                <a:ln>
                  <a:noFill/>
                </a:ln>
                <a:solidFill>
                  <a:schemeClr val="bg1"/>
                </a:solidFill>
                <a:effectLst/>
                <a:uLnTx/>
                <a:uFillTx/>
                <a:latin typeface="+mj-lt"/>
                <a:ea typeface="+mn-ea"/>
                <a:cs typeface="Segoe UI"/>
              </a:rPr>
              <a:t>Exercise four</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93D32733-86D9-3AFD-9C29-F918C925F55C}"/>
              </a:ext>
            </a:extLst>
          </p:cNvPr>
          <p:cNvSpPr>
            <a:spLocks noGrp="1"/>
          </p:cNvSpPr>
          <p:nvPr>
            <p:ph type="body" sz="quarter" idx="12"/>
          </p:nvPr>
        </p:nvSpPr>
        <p:spPr>
          <a:xfrm>
            <a:off x="584200" y="5252490"/>
            <a:ext cx="10480421" cy="369332"/>
          </a:xfrm>
        </p:spPr>
        <p:txBody>
          <a:bodyPr vert="horz" wrap="square" lIns="0" tIns="0" rIns="0" bIns="0" rtlCol="0" anchor="t">
            <a:spAutoFit/>
          </a:bodyPr>
          <a:lstStyle/>
          <a:p>
            <a:r>
              <a:rPr lang="en-US" dirty="0">
                <a:cs typeface="Segoe UI"/>
              </a:rPr>
              <a:t>Implement load testing and secure practices</a:t>
            </a:r>
            <a:endParaRPr lang="en-US" dirty="0"/>
          </a:p>
        </p:txBody>
      </p:sp>
      <p:sp>
        <p:nvSpPr>
          <p:cNvPr id="4" name="Footer Placeholder 3">
            <a:extLst>
              <a:ext uri="{FF2B5EF4-FFF2-40B4-BE49-F238E27FC236}">
                <a16:creationId xmlns:a16="http://schemas.microsoft.com/office/drawing/2014/main" id="{2C57AA0B-4601-E924-DB3E-5A437D95F445}"/>
              </a:ext>
            </a:extLst>
          </p:cNvPr>
          <p:cNvSpPr>
            <a:spLocks noGrp="1"/>
          </p:cNvSpPr>
          <p:nvPr>
            <p:ph type="ftr" sz="quarter" idx="13"/>
          </p:nvPr>
        </p:nvSpPr>
        <p:spPr/>
        <p:txBody>
          <a:bodyPr/>
          <a:lstStyle/>
          <a:p>
            <a:r>
              <a:rPr lang="en-US"/>
              <a:t>Microsoft Confidential</a:t>
            </a:r>
          </a:p>
        </p:txBody>
      </p:sp>
    </p:spTree>
    <p:custDataLst>
      <p:tags r:id="rId1"/>
    </p:custDataLst>
    <p:extLst>
      <p:ext uri="{BB962C8B-B14F-4D97-AF65-F5344CB8AC3E}">
        <p14:creationId xmlns:p14="http://schemas.microsoft.com/office/powerpoint/2010/main" val="773825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9DC32FC-7D88-4098-BBDA-40061F133983}"/>
              </a:ext>
              <a:ext uri="{C183D7F6-B498-43B3-948B-1728B52AA6E4}">
                <adec:decorative xmlns:adec="http://schemas.microsoft.com/office/drawing/2017/decorative" val="1"/>
              </a:ext>
            </a:extLst>
          </p:cNvPr>
          <p:cNvSpPr>
            <a:spLocks/>
          </p:cNvSpPr>
          <p:nvPr/>
        </p:nvSpPr>
        <p:spPr bwMode="auto">
          <a:xfrm flipV="1">
            <a:off x="0" y="105310"/>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4CF3C0D8-6161-F876-224D-802A44AE60F5}"/>
              </a:ext>
              <a:ext uri="{C183D7F6-B498-43B3-948B-1728B52AA6E4}">
                <adec:decorative xmlns:adec="http://schemas.microsoft.com/office/drawing/2017/decorative" val="0"/>
              </a:ext>
            </a:extLst>
          </p:cNvPr>
          <p:cNvSpPr>
            <a:spLocks noGrp="1"/>
          </p:cNvSpPr>
          <p:nvPr>
            <p:ph type="title"/>
          </p:nvPr>
        </p:nvSpPr>
        <p:spPr>
          <a:xfrm>
            <a:off x="588263" y="457200"/>
            <a:ext cx="2688337" cy="1415772"/>
          </a:xfrm>
        </p:spPr>
        <p:txBody>
          <a:bodyPr/>
          <a:lstStyle/>
          <a:p>
            <a:r>
              <a:rPr lang="en-US" dirty="0">
                <a:solidFill>
                  <a:schemeClr val="bg1"/>
                </a:solidFill>
                <a:cs typeface="Segoe UI"/>
              </a:rPr>
              <a:t>Exercise three summary</a:t>
            </a:r>
            <a:br>
              <a:rPr lang="en-US" b="0" spc="0" dirty="0">
                <a:ln>
                  <a:noFill/>
                </a:ln>
                <a:cs typeface="+mn-cs"/>
              </a:rPr>
            </a:br>
            <a:r>
              <a:rPr lang="en-US" altLang="zh-CN" sz="1800" spc="0" dirty="0">
                <a:ln>
                  <a:noFill/>
                </a:ln>
                <a:solidFill>
                  <a:schemeClr val="bg1"/>
                </a:solidFill>
                <a:latin typeface="+mj-lt"/>
              </a:rPr>
              <a:t>Improve and deploy your application</a:t>
            </a:r>
            <a:endParaRPr lang="en-US" sz="1800" dirty="0">
              <a:solidFill>
                <a:schemeClr val="bg1"/>
              </a:solidFill>
            </a:endParaRPr>
          </a:p>
        </p:txBody>
      </p:sp>
      <p:sp>
        <p:nvSpPr>
          <p:cNvPr id="10" name="Freeform: Shape 9">
            <a:extLst>
              <a:ext uri="{FF2B5EF4-FFF2-40B4-BE49-F238E27FC236}">
                <a16:creationId xmlns:a16="http://schemas.microsoft.com/office/drawing/2014/main" id="{1E98F374-AEB3-0659-95E2-34C88EF9BD14}"/>
              </a:ext>
              <a:ext uri="{C183D7F6-B498-43B3-948B-1728B52AA6E4}">
                <adec:decorative xmlns:adec="http://schemas.microsoft.com/office/drawing/2017/decorative" val="0"/>
              </a:ext>
            </a:extLst>
          </p:cNvPr>
          <p:cNvSpPr/>
          <p:nvPr/>
        </p:nvSpPr>
        <p:spPr bwMode="auto">
          <a:xfrm>
            <a:off x="3563899" y="281360"/>
            <a:ext cx="8603023" cy="605683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 uri="{C183D7F6-B498-43B3-948B-1728B52AA6E4}">
                <adec:decorative xmlns:adec="http://schemas.microsoft.com/office/drawing/2017/decorative" val="0"/>
              </a:ext>
            </a:extLst>
          </p:cNvPr>
          <p:cNvSpPr/>
          <p:nvPr/>
        </p:nvSpPr>
        <p:spPr bwMode="auto">
          <a:xfrm>
            <a:off x="3729802" y="281360"/>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mn-cs"/>
              </a:rPr>
              <a:t>In this exercise you:</a:t>
            </a:r>
          </a:p>
        </p:txBody>
      </p:sp>
      <p:grpSp>
        <p:nvGrpSpPr>
          <p:cNvPr id="13" name="Group 12">
            <a:extLst>
              <a:ext uri="{FF2B5EF4-FFF2-40B4-BE49-F238E27FC236}">
                <a16:creationId xmlns:a16="http://schemas.microsoft.com/office/drawing/2014/main" id="{36A25F59-5F30-9691-A845-51AAB6A9473E}"/>
              </a:ext>
              <a:ext uri="{C183D7F6-B498-43B3-948B-1728B52AA6E4}">
                <adec:decorative xmlns:adec="http://schemas.microsoft.com/office/drawing/2017/decorative" val="1"/>
              </a:ext>
            </a:extLst>
          </p:cNvPr>
          <p:cNvGrpSpPr/>
          <p:nvPr/>
        </p:nvGrpSpPr>
        <p:grpSpPr>
          <a:xfrm>
            <a:off x="3810887" y="377378"/>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ext Placeholder 4">
            <a:extLst>
              <a:ext uri="{FF2B5EF4-FFF2-40B4-BE49-F238E27FC236}">
                <a16:creationId xmlns:a16="http://schemas.microsoft.com/office/drawing/2014/main" id="{430363F1-F33D-6CF1-83DE-0DF963811E1A}"/>
              </a:ext>
            </a:extLst>
          </p:cNvPr>
          <p:cNvSpPr txBox="1">
            <a:spLocks/>
          </p:cNvSpPr>
          <p:nvPr/>
        </p:nvSpPr>
        <p:spPr>
          <a:xfrm>
            <a:off x="3588978" y="883800"/>
            <a:ext cx="8265566" cy="53501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1000"/>
              </a:spcBef>
            </a:pPr>
            <a:endParaRPr lang="en-US" dirty="0">
              <a:latin typeface="Segoe UI"/>
              <a:cs typeface="Arial"/>
            </a:endParaRP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onfigured GitHub Copilot and used it to assist with C# code changes.</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Deployed ARM and Bicep templates via GitHub Actions workflow.</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reated a GitHub Actions workflow for deploying .NET web applications.</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Automatically built and deployed a Docker image as part of a workflow.</a:t>
            </a:r>
          </a:p>
          <a:p>
            <a:pPr marL="285750" indent="-285750">
              <a:lnSpc>
                <a:spcPct val="90000"/>
              </a:lnSpc>
              <a:spcBef>
                <a:spcPts val="1000"/>
              </a:spcBef>
              <a:buFont typeface="Arial" panose="05000000000000000000" pitchFamily="2" charset="2"/>
              <a:buChar char="•"/>
            </a:pPr>
            <a:r>
              <a:rPr lang="en-US" sz="2800" dirty="0">
                <a:solidFill>
                  <a:srgbClr val="000000"/>
                </a:solidFill>
                <a:latin typeface="Segoe UI "/>
              </a:rPr>
              <a:t>Updated an Azure Web App whenever the GitHub Actions workflow deploys a new Docker image.</a:t>
            </a:r>
            <a:endParaRPr kumimoji="0" lang="en-US" sz="2800" b="0" i="0" u="none" strike="noStrike" kern="1200" cap="none" spc="0" normalizeH="0" baseline="0" noProof="0" dirty="0">
              <a:ln>
                <a:noFill/>
              </a:ln>
              <a:solidFill>
                <a:srgbClr val="000000"/>
              </a:solidFill>
              <a:effectLst/>
              <a:uLnTx/>
              <a:uFillTx/>
              <a:latin typeface="Segoe UI "/>
              <a:ea typeface="+mn-ea"/>
              <a:cs typeface="+mn-cs"/>
            </a:endParaRPr>
          </a:p>
          <a:p>
            <a:endParaRPr lang="en-US" sz="2400" b="1" dirty="0">
              <a:latin typeface="Segoe UI"/>
            </a:endParaRPr>
          </a:p>
        </p:txBody>
      </p:sp>
    </p:spTree>
    <p:custDataLst>
      <p:tags r:id="rId1"/>
    </p:custDataLst>
    <p:extLst>
      <p:ext uri="{BB962C8B-B14F-4D97-AF65-F5344CB8AC3E}">
        <p14:creationId xmlns:p14="http://schemas.microsoft.com/office/powerpoint/2010/main" val="134157108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mj-lt"/>
                <a:ea typeface="+mn-ea"/>
                <a:cs typeface="Segoe UI"/>
              </a:rPr>
              <a:t>Debrief exercise three</a:t>
            </a:r>
            <a:endParaRPr kumimoji="0" lang="en-US" sz="36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Reflection and discussion points</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521628" y="1812197"/>
            <a:ext cx="11445399" cy="5170646"/>
          </a:xfrm>
        </p:spPr>
        <p:txBody>
          <a:bodyPr vert="horz" wrap="square" lIns="0" tIns="0" rIns="0" bIns="0" rtlCol="0" anchor="t">
            <a:spAutoFit/>
          </a:bodyPr>
          <a:lstStyle/>
          <a:p>
            <a:pPr marL="342900" indent="-342900" algn="l" rtl="0" fontAlgn="base">
              <a:buFont typeface="Arial" panose="020B0604020202020204" pitchFamily="34" charset="0"/>
              <a:buChar char="•"/>
            </a:pPr>
            <a:r>
              <a:rPr lang="en-US" sz="2400" b="0" i="0" dirty="0">
                <a:solidFill>
                  <a:srgbClr val="000000"/>
                </a:solidFill>
                <a:effectLst/>
                <a:latin typeface="+mj-lt"/>
              </a:rPr>
              <a:t>After completing the exercise, take some time to reflect on the core concepts you've learned, including the role of GitHub Copilot, the principles of </a:t>
            </a:r>
            <a:r>
              <a:rPr lang="en-US" sz="2400" b="0" i="0" dirty="0" err="1">
                <a:solidFill>
                  <a:srgbClr val="000000"/>
                </a:solidFill>
                <a:effectLst/>
                <a:latin typeface="+mj-lt"/>
              </a:rPr>
              <a:t>IaC</a:t>
            </a:r>
            <a:r>
              <a:rPr lang="en-US" sz="2400" b="0" i="0" dirty="0">
                <a:solidFill>
                  <a:srgbClr val="000000"/>
                </a:solidFill>
                <a:effectLst/>
                <a:latin typeface="+mj-lt"/>
              </a:rPr>
              <a:t>, and the benefits of CI/CD. </a:t>
            </a:r>
          </a:p>
          <a:p>
            <a:pPr marL="342900" indent="-342900" algn="l" rtl="0" fontAlgn="base">
              <a:buFont typeface="Arial" panose="020B0604020202020204" pitchFamily="34" charset="0"/>
              <a:buChar char="•"/>
            </a:pPr>
            <a:r>
              <a:rPr lang="en-US" sz="2400" b="0" i="0" dirty="0">
                <a:solidFill>
                  <a:srgbClr val="000000"/>
                </a:solidFill>
                <a:effectLst/>
                <a:latin typeface="+mj-lt"/>
              </a:rPr>
              <a:t>Consider how the exercise content and skills can be applied in real-world scenarios and your current or future projects. Think about potential use cases. </a:t>
            </a:r>
          </a:p>
          <a:p>
            <a:pPr marL="342900" indent="-342900" algn="l" rtl="0" fontAlgn="base">
              <a:buFont typeface="Arial" panose="020B0604020202020204" pitchFamily="34" charset="0"/>
              <a:buChar char="•"/>
            </a:pPr>
            <a:r>
              <a:rPr lang="en-US" sz="2400" dirty="0">
                <a:solidFill>
                  <a:srgbClr val="000000"/>
                </a:solidFill>
                <a:latin typeface="+mj-lt"/>
              </a:rPr>
              <a:t>S</a:t>
            </a:r>
            <a:r>
              <a:rPr lang="en-US" sz="2400" b="0" i="0" dirty="0">
                <a:solidFill>
                  <a:srgbClr val="000000"/>
                </a:solidFill>
                <a:effectLst/>
                <a:latin typeface="+mj-lt"/>
              </a:rPr>
              <a:t>hare your experiences, insights, and any difficulties you faced during the exercise. What was the most challenging part? What did you find interesting or valuable? </a:t>
            </a:r>
          </a:p>
          <a:p>
            <a:pPr marL="342900" indent="-342900" algn="l" rtl="0" fontAlgn="base">
              <a:buFont typeface="Arial" panose="020B0604020202020204" pitchFamily="34" charset="0"/>
              <a:buChar char="•"/>
            </a:pPr>
            <a:r>
              <a:rPr lang="en-US" sz="2400" b="0" i="0" dirty="0">
                <a:solidFill>
                  <a:srgbClr val="000000"/>
                </a:solidFill>
                <a:effectLst/>
                <a:latin typeface="+mj-lt"/>
              </a:rPr>
              <a:t>If there were concepts or steps that you found confusing or challenging, use this opportunity to ask questions and seek clarification from the coach. </a:t>
            </a:r>
          </a:p>
          <a:p>
            <a:pPr marL="342900" indent="-342900" algn="l" rtl="0" fontAlgn="base">
              <a:buFont typeface="Arial" panose="020B0604020202020204" pitchFamily="34" charset="0"/>
              <a:buChar char="•"/>
            </a:pPr>
            <a:r>
              <a:rPr lang="en-US" sz="2400" b="0" i="0" dirty="0">
                <a:solidFill>
                  <a:srgbClr val="000000"/>
                </a:solidFill>
                <a:effectLst/>
                <a:latin typeface="+mj-lt"/>
              </a:rPr>
              <a:t>If you have ideas for improving the exercise content or processes related to GitHub Copilot, </a:t>
            </a:r>
            <a:r>
              <a:rPr lang="en-US" sz="2400" b="0" i="0" dirty="0" err="1">
                <a:solidFill>
                  <a:srgbClr val="000000"/>
                </a:solidFill>
                <a:effectLst/>
                <a:latin typeface="+mj-lt"/>
              </a:rPr>
              <a:t>IaC</a:t>
            </a:r>
            <a:r>
              <a:rPr lang="en-US" sz="2400" b="0" i="0" dirty="0">
                <a:solidFill>
                  <a:srgbClr val="000000"/>
                </a:solidFill>
                <a:effectLst/>
                <a:latin typeface="+mj-lt"/>
              </a:rPr>
              <a:t>, or CI/CD, don't hesitate to offer suggestions during the discussion. </a:t>
            </a:r>
          </a:p>
          <a:p>
            <a:pPr marL="285750" indent="-285750" algn="l" rtl="0" fontAlgn="base">
              <a:buFont typeface="Arial" panose="020B0604020202020204" pitchFamily="34" charset="0"/>
              <a:buChar char="•"/>
            </a:pPr>
            <a:endParaRPr lang="en-US" sz="2400"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21</a:t>
            </a:fld>
            <a:endParaRPr lang="en-US"/>
          </a:p>
        </p:txBody>
      </p:sp>
    </p:spTree>
    <p:custDataLst>
      <p:tags r:id="rId1"/>
    </p:custDataLst>
    <p:extLst>
      <p:ext uri="{BB962C8B-B14F-4D97-AF65-F5344CB8AC3E}">
        <p14:creationId xmlns:p14="http://schemas.microsoft.com/office/powerpoint/2010/main" val="40333332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tLang="zh-CN" sz="4800" spc="0" dirty="0">
                <a:ln>
                  <a:noFill/>
                </a:ln>
                <a:solidFill>
                  <a:schemeClr val="bg1"/>
                </a:solidFill>
                <a:latin typeface="+mj-lt"/>
              </a:rPr>
              <a:t>Exercise four: implement load testing and secure practices</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28773467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exercise,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four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b="1" dirty="0">
                <a:latin typeface="+mn-lt"/>
                <a:cs typeface="Segoe UI Light" panose="020B0502040204020203" pitchFamily="34" charset="0"/>
              </a:rPr>
              <a:t>Build and run a load test</a:t>
            </a:r>
            <a:br>
              <a:rPr lang="en-IN" b="1" dirty="0"/>
            </a:br>
            <a:endParaRPr lang="en-IN" b="1"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b="1" dirty="0">
                <a:latin typeface="+mn-lt"/>
                <a:cs typeface="Segoe UI Light" panose="020B0502040204020203" pitchFamily="34" charset="0"/>
              </a:rPr>
              <a:t>Working with Azure load testing</a:t>
            </a:r>
            <a:endParaRPr lang="en-US" b="1"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ct val="20000"/>
              </a:spcBef>
              <a:buSzPct val="90000"/>
              <a:defRPr/>
            </a:pPr>
            <a:r>
              <a:rPr lang="en-US" spc="0" dirty="0">
                <a:ln>
                  <a:noFill/>
                </a:ln>
                <a:solidFill>
                  <a:schemeClr val="bg1"/>
                </a:solidFill>
                <a:latin typeface="+mj-lt"/>
                <a:cs typeface="Segoe UI"/>
              </a:rPr>
              <a:t>Exercise four (mid-exercise check-in)</a:t>
            </a:r>
            <a:endParaRPr lang="en-US" sz="3600" b="1" i="0" u="none" strike="noStrike" kern="1200" cap="none" spc="0" normalizeH="0" baseline="0" noProof="0" dirty="0">
              <a:ln>
                <a:noFill/>
              </a:ln>
              <a:solidFill>
                <a:schemeClr val="bg1"/>
              </a:solidFill>
              <a:effectLst/>
              <a:uLnTx/>
              <a:uFillTx/>
              <a:latin typeface="+mj-lt"/>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Discussion points</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2184" y="1946487"/>
            <a:ext cx="11445399" cy="4622291"/>
          </a:xfrm>
        </p:spPr>
        <p:txBody>
          <a:bodyPr vert="horz" wrap="square" lIns="0" tIns="0" rIns="0" bIns="0" rtlCol="0" anchor="t">
            <a:spAutoFit/>
          </a:bodyPr>
          <a:lstStyle/>
          <a:p>
            <a:pPr marL="1143000" lvl="2" indent="-228600">
              <a:lnSpc>
                <a:spcPct val="115000"/>
              </a:lnSpc>
              <a:spcBef>
                <a:spcPts val="0"/>
              </a:spcBef>
              <a:spcAft>
                <a:spcPts val="800"/>
              </a:spcAft>
              <a:buFont typeface="Wingdings" panose="05000000000000000000" pitchFamily="2" charset="2"/>
              <a:buChar char=""/>
            </a:pPr>
            <a:r>
              <a:rPr lang="en-US" sz="2800" kern="100" dirty="0">
                <a:effectLst/>
                <a:ea typeface="DengXian" panose="02010600030101010101" pitchFamily="2" charset="-122"/>
                <a:cs typeface="Arial" panose="020B0604020202020204" pitchFamily="34" charset="0"/>
              </a:rPr>
              <a:t>Share any key insights, challenges, or achievements you've experienced up to this point in the exercise. What aspects of configuring load testing have you found most interesting or difficult?</a:t>
            </a:r>
          </a:p>
          <a:p>
            <a:pPr marL="1143000" lvl="2" indent="-228600">
              <a:lnSpc>
                <a:spcPct val="115000"/>
              </a:lnSpc>
              <a:spcBef>
                <a:spcPts val="0"/>
              </a:spcBef>
              <a:spcAft>
                <a:spcPts val="800"/>
              </a:spcAft>
              <a:buFont typeface="Wingdings" panose="05000000000000000000" pitchFamily="2" charset="2"/>
              <a:buChar char=""/>
            </a:pPr>
            <a:r>
              <a:rPr lang="en-US" sz="2800" kern="100" dirty="0">
                <a:effectLst/>
                <a:ea typeface="DengXian" panose="02010600030101010101" pitchFamily="2" charset="-122"/>
                <a:cs typeface="Arial" panose="020B0604020202020204" pitchFamily="34" charset="0"/>
              </a:rPr>
              <a:t>Address the tasks completed until this point, including defining the scope of testing and creating Azure Load Testing resources. Were there any challenges or discoveries during these tasks?</a:t>
            </a:r>
          </a:p>
          <a:p>
            <a:pPr marL="1143000" lvl="2" indent="-228600">
              <a:lnSpc>
                <a:spcPct val="115000"/>
              </a:lnSpc>
              <a:spcBef>
                <a:spcPts val="0"/>
              </a:spcBef>
              <a:spcAft>
                <a:spcPts val="800"/>
              </a:spcAft>
              <a:buFont typeface="Wingdings" panose="05000000000000000000" pitchFamily="2" charset="2"/>
              <a:buChar char=""/>
            </a:pPr>
            <a:r>
              <a:rPr lang="en-US" sz="2800" kern="100" dirty="0">
                <a:effectLst/>
                <a:ea typeface="DengXian" panose="02010600030101010101" pitchFamily="2" charset="-122"/>
                <a:cs typeface="Arial" panose="020B0604020202020204" pitchFamily="34" charset="0"/>
              </a:rPr>
              <a:t>If you have questions or need clarification on any part of the exercise, this is a good time to ask before continuing to Part 2.</a:t>
            </a:r>
            <a:endParaRPr lang="en-US" sz="2800"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28</a:t>
            </a:fld>
            <a:endParaRPr lang="en-US"/>
          </a:p>
        </p:txBody>
      </p:sp>
    </p:spTree>
    <p:custDataLst>
      <p:tags r:id="rId1"/>
    </p:custDataLst>
    <p:extLst>
      <p:ext uri="{BB962C8B-B14F-4D97-AF65-F5344CB8AC3E}">
        <p14:creationId xmlns:p14="http://schemas.microsoft.com/office/powerpoint/2010/main" val="259346395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9DC32FC-7D88-4098-BBDA-40061F133983}"/>
              </a:ext>
              <a:ext uri="{C183D7F6-B498-43B3-948B-1728B52AA6E4}">
                <adec:decorative xmlns:adec="http://schemas.microsoft.com/office/drawing/2017/decorative" val="1"/>
              </a:ext>
            </a:extLst>
          </p:cNvPr>
          <p:cNvSpPr>
            <a:spLocks/>
          </p:cNvSpPr>
          <p:nvPr/>
        </p:nvSpPr>
        <p:spPr bwMode="auto">
          <a:xfrm flipV="1">
            <a:off x="0" y="105310"/>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4CF3C0D8-6161-F876-224D-802A44AE60F5}"/>
              </a:ext>
              <a:ext uri="{C183D7F6-B498-43B3-948B-1728B52AA6E4}">
                <adec:decorative xmlns:adec="http://schemas.microsoft.com/office/drawing/2017/decorative" val="0"/>
              </a:ext>
            </a:extLst>
          </p:cNvPr>
          <p:cNvSpPr>
            <a:spLocks noGrp="1"/>
          </p:cNvSpPr>
          <p:nvPr>
            <p:ph type="title"/>
          </p:nvPr>
        </p:nvSpPr>
        <p:spPr>
          <a:xfrm>
            <a:off x="588263" y="457200"/>
            <a:ext cx="2688337" cy="1138773"/>
          </a:xfrm>
        </p:spPr>
        <p:txBody>
          <a:bodyPr/>
          <a:lstStyle/>
          <a:p>
            <a:r>
              <a:rPr lang="en-US" dirty="0">
                <a:solidFill>
                  <a:schemeClr val="bg1"/>
                </a:solidFill>
                <a:cs typeface="Segoe UI"/>
              </a:rPr>
              <a:t>Exercise four summary</a:t>
            </a:r>
            <a:br>
              <a:rPr lang="en-US" b="0" spc="0" dirty="0">
                <a:ln>
                  <a:noFill/>
                </a:ln>
                <a:cs typeface="+mn-cs"/>
              </a:rPr>
            </a:br>
            <a:r>
              <a:rPr lang="en-US" altLang="zh-CN" sz="1800" spc="0" dirty="0">
                <a:ln>
                  <a:noFill/>
                </a:ln>
                <a:solidFill>
                  <a:schemeClr val="bg1"/>
                </a:solidFill>
                <a:latin typeface="+mj-lt"/>
              </a:rPr>
              <a:t>Configure load testing</a:t>
            </a:r>
            <a:endParaRPr lang="en-US" sz="1800" dirty="0">
              <a:solidFill>
                <a:schemeClr val="bg1"/>
              </a:solidFill>
            </a:endParaRPr>
          </a:p>
        </p:txBody>
      </p:sp>
      <p:sp>
        <p:nvSpPr>
          <p:cNvPr id="10" name="Freeform: Shape 9">
            <a:extLst>
              <a:ext uri="{FF2B5EF4-FFF2-40B4-BE49-F238E27FC236}">
                <a16:creationId xmlns:a16="http://schemas.microsoft.com/office/drawing/2014/main" id="{1E98F374-AEB3-0659-95E2-34C88EF9BD14}"/>
              </a:ext>
              <a:ext uri="{C183D7F6-B498-43B3-948B-1728B52AA6E4}">
                <adec:decorative xmlns:adec="http://schemas.microsoft.com/office/drawing/2017/decorative" val="0"/>
              </a:ext>
            </a:extLst>
          </p:cNvPr>
          <p:cNvSpPr/>
          <p:nvPr/>
        </p:nvSpPr>
        <p:spPr bwMode="auto">
          <a:xfrm>
            <a:off x="3563899" y="281360"/>
            <a:ext cx="8603023" cy="605683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 uri="{C183D7F6-B498-43B3-948B-1728B52AA6E4}">
                <adec:decorative xmlns:adec="http://schemas.microsoft.com/office/drawing/2017/decorative" val="0"/>
              </a:ext>
            </a:extLst>
          </p:cNvPr>
          <p:cNvSpPr/>
          <p:nvPr/>
        </p:nvSpPr>
        <p:spPr bwMode="auto">
          <a:xfrm>
            <a:off x="3729802" y="281360"/>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mn-cs"/>
              </a:rPr>
              <a:t>In this exercise you:</a:t>
            </a:r>
          </a:p>
        </p:txBody>
      </p:sp>
      <p:grpSp>
        <p:nvGrpSpPr>
          <p:cNvPr id="13" name="Group 12">
            <a:extLst>
              <a:ext uri="{FF2B5EF4-FFF2-40B4-BE49-F238E27FC236}">
                <a16:creationId xmlns:a16="http://schemas.microsoft.com/office/drawing/2014/main" id="{36A25F59-5F30-9691-A845-51AAB6A9473E}"/>
              </a:ext>
              <a:ext uri="{C183D7F6-B498-43B3-948B-1728B52AA6E4}">
                <adec:decorative xmlns:adec="http://schemas.microsoft.com/office/drawing/2017/decorative" val="1"/>
              </a:ext>
            </a:extLst>
          </p:cNvPr>
          <p:cNvGrpSpPr/>
          <p:nvPr/>
        </p:nvGrpSpPr>
        <p:grpSpPr>
          <a:xfrm>
            <a:off x="3810887" y="377378"/>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ext Placeholder 4">
            <a:extLst>
              <a:ext uri="{FF2B5EF4-FFF2-40B4-BE49-F238E27FC236}">
                <a16:creationId xmlns:a16="http://schemas.microsoft.com/office/drawing/2014/main" id="{430363F1-F33D-6CF1-83DE-0DF963811E1A}"/>
              </a:ext>
            </a:extLst>
          </p:cNvPr>
          <p:cNvSpPr txBox="1">
            <a:spLocks/>
          </p:cNvSpPr>
          <p:nvPr/>
        </p:nvSpPr>
        <p:spPr>
          <a:xfrm>
            <a:off x="3588978" y="883800"/>
            <a:ext cx="8265566" cy="457458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1000"/>
              </a:spcBef>
            </a:pPr>
            <a:endParaRPr lang="en-US" dirty="0">
              <a:latin typeface="Segoe UI"/>
              <a:cs typeface="Arial"/>
            </a:endParaRP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Designed a load test for a web application.</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reated a load test using Apache JMeter.</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reated an Azure Load Testing service and execute the JMeter load test in Azure.</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Designed and created a stress test using the Azure Load Testing service.</a:t>
            </a:r>
          </a:p>
          <a:p>
            <a:pPr marL="285750" indent="-285750">
              <a:lnSpc>
                <a:spcPct val="90000"/>
              </a:lnSpc>
              <a:spcBef>
                <a:spcPts val="1000"/>
              </a:spcBef>
              <a:buFont typeface="Arial" panose="05000000000000000000" pitchFamily="2" charset="2"/>
              <a:buChar char="•"/>
            </a:pPr>
            <a:r>
              <a:rPr lang="en-US" sz="2800" dirty="0">
                <a:solidFill>
                  <a:srgbClr val="000000"/>
                </a:solidFill>
                <a:latin typeface="Segoe UI "/>
              </a:rPr>
              <a:t>Designed a chaos experiment in Azure Chaos Studio.</a:t>
            </a:r>
            <a:endParaRPr kumimoji="0" lang="en-US" sz="2800" b="0" i="0" u="none" strike="noStrike" kern="1200" cap="none" spc="0" normalizeH="0" baseline="0" noProof="0" dirty="0">
              <a:ln>
                <a:noFill/>
              </a:ln>
              <a:solidFill>
                <a:srgbClr val="000000"/>
              </a:solidFill>
              <a:effectLst/>
              <a:uLnTx/>
              <a:uFillTx/>
              <a:latin typeface="Segoe UI "/>
              <a:ea typeface="+mn-ea"/>
              <a:cs typeface="+mn-cs"/>
            </a:endParaRPr>
          </a:p>
          <a:p>
            <a:endParaRPr lang="en-US" sz="2400" b="1" dirty="0">
              <a:latin typeface="Segoe UI"/>
            </a:endParaRPr>
          </a:p>
        </p:txBody>
      </p:sp>
    </p:spTree>
    <p:custDataLst>
      <p:tags r:id="rId1"/>
    </p:custDataLst>
    <p:extLst>
      <p:ext uri="{BB962C8B-B14F-4D97-AF65-F5344CB8AC3E}">
        <p14:creationId xmlns:p14="http://schemas.microsoft.com/office/powerpoint/2010/main" val="32399775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Performance testing benefits</a:t>
            </a:r>
            <a:endParaRPr lang="en-US" dirty="0"/>
          </a:p>
        </p:txBody>
      </p:sp>
      <p:sp>
        <p:nvSpPr>
          <p:cNvPr id="4" name="Text Placeholder 4">
            <a:extLst>
              <a:ext uri="{FF2B5EF4-FFF2-40B4-BE49-F238E27FC236}">
                <a16:creationId xmlns:a16="http://schemas.microsoft.com/office/drawing/2014/main" id="{445083C8-403D-51D3-EF90-8B4E742676B2}"/>
              </a:ext>
            </a:extLst>
          </p:cNvPr>
          <p:cNvSpPr txBox="1">
            <a:spLocks/>
          </p:cNvSpPr>
          <p:nvPr/>
        </p:nvSpPr>
        <p:spPr>
          <a:xfrm>
            <a:off x="297143" y="1010265"/>
            <a:ext cx="11606989" cy="581082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l">
              <a:buFont typeface="Arial" panose="020B0604020202020204" pitchFamily="34" charset="0"/>
              <a:buChar char="•"/>
            </a:pPr>
            <a:r>
              <a:rPr lang="en-US" sz="3200" dirty="0">
                <a:solidFill>
                  <a:srgbClr val="161616"/>
                </a:solidFill>
                <a:latin typeface="Segoe UI" panose="020B0502040204020203" pitchFamily="34" charset="0"/>
              </a:rPr>
              <a:t>Helps to </a:t>
            </a:r>
            <a:r>
              <a:rPr lang="en-US" sz="3200" b="0" i="0" dirty="0">
                <a:solidFill>
                  <a:srgbClr val="161616"/>
                </a:solidFill>
                <a:effectLst/>
                <a:latin typeface="Segoe UI" panose="020B0502040204020203" pitchFamily="34" charset="0"/>
              </a:rPr>
              <a:t>maintain systems properly and fix defects before problems reach system users.</a:t>
            </a:r>
          </a:p>
          <a:p>
            <a:pPr marL="457200" indent="-457200" algn="l">
              <a:buFont typeface="Arial" panose="020B0604020202020204" pitchFamily="34" charset="0"/>
              <a:buChar char="•"/>
            </a:pPr>
            <a:r>
              <a:rPr lang="en-US" sz="3200" b="0" i="0" dirty="0">
                <a:solidFill>
                  <a:srgbClr val="161616"/>
                </a:solidFill>
                <a:effectLst/>
                <a:latin typeface="Segoe UI" panose="020B0502040204020203" pitchFamily="34" charset="0"/>
              </a:rPr>
              <a:t>Helps to maintain the efficiency, responsiveness, scalability, and speed of applications when compared with business requirements.</a:t>
            </a:r>
          </a:p>
          <a:p>
            <a:pPr marL="457200" indent="-457200" algn="l">
              <a:buFont typeface="Arial" panose="020B0604020202020204" pitchFamily="34" charset="0"/>
              <a:buChar char="•"/>
            </a:pPr>
            <a:r>
              <a:rPr lang="en-US" sz="3200" b="0" i="0" dirty="0">
                <a:solidFill>
                  <a:srgbClr val="161616"/>
                </a:solidFill>
                <a:effectLst/>
                <a:latin typeface="Segoe UI" panose="020B0502040204020203" pitchFamily="34" charset="0"/>
              </a:rPr>
              <a:t>Provides diagnostic information necessary to eliminate bottlenecks, which lead to poor performance. </a:t>
            </a:r>
          </a:p>
          <a:p>
            <a:pPr marL="457200" indent="-457200" algn="l">
              <a:buFont typeface="Arial" panose="020B0604020202020204" pitchFamily="34" charset="0"/>
              <a:buChar char="•"/>
            </a:pPr>
            <a:r>
              <a:rPr lang="en-US" sz="3200" b="0" i="0" dirty="0">
                <a:solidFill>
                  <a:srgbClr val="161616"/>
                </a:solidFill>
                <a:effectLst/>
                <a:latin typeface="Segoe UI" panose="020B0502040204020203" pitchFamily="34" charset="0"/>
              </a:rPr>
              <a:t>Prevents a bottleneck from occurring when data flow is either interrupted or stopped due to insufficient capacity to handle the workload.</a:t>
            </a:r>
          </a:p>
          <a:p>
            <a:endParaRPr lang="en-US" sz="3200" dirty="0">
              <a:solidFill>
                <a:srgbClr val="1F2328"/>
              </a:solidFill>
              <a:latin typeface="+mj-lt"/>
            </a:endParaRPr>
          </a:p>
        </p:txBody>
      </p:sp>
    </p:spTree>
    <p:custDataLst>
      <p:tags r:id="rId1"/>
    </p:custDataLst>
    <p:extLst>
      <p:ext uri="{BB962C8B-B14F-4D97-AF65-F5344CB8AC3E}">
        <p14:creationId xmlns:p14="http://schemas.microsoft.com/office/powerpoint/2010/main" val="398275079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mj-lt"/>
                <a:ea typeface="+mn-ea"/>
                <a:cs typeface="Segoe UI"/>
              </a:rPr>
              <a:t>Debrief exercise four</a:t>
            </a:r>
            <a:endParaRPr kumimoji="0" lang="en-US" sz="36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Discussion points</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2184" y="1946487"/>
            <a:ext cx="11445399" cy="4470968"/>
          </a:xfrm>
        </p:spPr>
        <p:txBody>
          <a:bodyPr vert="horz" wrap="square" lIns="0" tIns="0" rIns="0" bIns="0" rtlCol="0" anchor="t">
            <a:spAutoFit/>
          </a:bodyPr>
          <a:lstStyle/>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After finishing the exercise, take a moment to reflect on the entire experience, from defining the scope to running load tests.</a:t>
            </a:r>
          </a:p>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Share your overall takeaways, including the importance of setting test criteria, monitoring, and identifying bottlenecks.</a:t>
            </a:r>
          </a:p>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Consider how the exercise content and skills can be applied in real-world scenarios and in your own projects.</a:t>
            </a:r>
          </a:p>
          <a:p>
            <a:pPr marL="1143000" lvl="2" indent="-228600">
              <a:lnSpc>
                <a:spcPct val="115000"/>
              </a:lnSpc>
              <a:spcBef>
                <a:spcPts val="0"/>
              </a:spcBef>
              <a:spcAft>
                <a:spcPts val="800"/>
              </a:spcAft>
              <a:buFont typeface="Wingdings" panose="05000000000000000000" pitchFamily="2" charset="2"/>
              <a:buChar char=""/>
            </a:pPr>
            <a:r>
              <a:rPr lang="en-US" sz="2400" kern="100" dirty="0">
                <a:effectLst/>
                <a:ea typeface="DengXian"/>
                <a:cs typeface="Times New Roman"/>
              </a:rPr>
              <a:t>If there are any remaining questions or aspects of the exercise that you'd like to clarify</a:t>
            </a:r>
            <a:r>
              <a:rPr lang="en-US" sz="2400" kern="100" dirty="0">
                <a:ea typeface="DengXian"/>
                <a:cs typeface="Times New Roman"/>
              </a:rPr>
              <a:t>? </a:t>
            </a:r>
            <a:endParaRPr lang="en-US" sz="2400" kern="100" dirty="0">
              <a:effectLst/>
              <a:ea typeface="DengXian"/>
              <a:cs typeface="Times New Roman"/>
            </a:endParaRPr>
          </a:p>
          <a:p>
            <a:pPr marL="1143000" lvl="2" indent="-228600">
              <a:lnSpc>
                <a:spcPct val="114999"/>
              </a:lnSpc>
              <a:spcBef>
                <a:spcPts val="0"/>
              </a:spcBef>
              <a:spcAft>
                <a:spcPts val="800"/>
              </a:spcAft>
              <a:buFont typeface="Wingdings" panose="05000000000000000000" pitchFamily="2" charset="2"/>
              <a:buChar char=""/>
            </a:pPr>
            <a:r>
              <a:rPr lang="en-US" sz="2400" kern="100" dirty="0">
                <a:ea typeface="DengXian"/>
                <a:cs typeface="Times New Roman"/>
              </a:rPr>
              <a:t>Do you have any suggestions on how to improve this exercise?</a:t>
            </a:r>
            <a:endParaRPr lang="en-US" sz="2400" kern="100" dirty="0">
              <a:latin typeface="+mj-lt"/>
              <a:ea typeface="DengXian"/>
              <a:cs typeface="Times New Roman"/>
            </a:endParaRPr>
          </a:p>
          <a:p>
            <a:pPr marL="285750" indent="-285750" fontAlgn="base">
              <a:buFont typeface="Arial" panose="020B0604020202020204" pitchFamily="34" charset="0"/>
              <a:buChar char="•"/>
            </a:pPr>
            <a:endParaRPr lang="en-US" sz="2400"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30</a:t>
            </a:fld>
            <a:endParaRPr lang="en-US"/>
          </a:p>
        </p:txBody>
      </p:sp>
    </p:spTree>
    <p:custDataLst>
      <p:tags r:id="rId1"/>
    </p:custDataLst>
    <p:extLst>
      <p:ext uri="{BB962C8B-B14F-4D97-AF65-F5344CB8AC3E}">
        <p14:creationId xmlns:p14="http://schemas.microsoft.com/office/powerpoint/2010/main" val="21397975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1607800"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tLang="zh-CN" sz="4800" spc="0" dirty="0">
                <a:ln>
                  <a:noFill/>
                </a:ln>
                <a:solidFill>
                  <a:schemeClr val="bg1"/>
                </a:solidFill>
                <a:latin typeface="+mj-lt"/>
              </a:rPr>
              <a:t>Exercise five: make things secure</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26618619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nd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exercise,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five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60071449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9DC32FC-7D88-4098-BBDA-40061F133983}"/>
              </a:ext>
              <a:ext uri="{C183D7F6-B498-43B3-948B-1728B52AA6E4}">
                <adec:decorative xmlns:adec="http://schemas.microsoft.com/office/drawing/2017/decorative" val="1"/>
              </a:ext>
            </a:extLst>
          </p:cNvPr>
          <p:cNvSpPr>
            <a:spLocks/>
          </p:cNvSpPr>
          <p:nvPr/>
        </p:nvSpPr>
        <p:spPr bwMode="auto">
          <a:xfrm flipV="1">
            <a:off x="0" y="105310"/>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4CF3C0D8-6161-F876-224D-802A44AE60F5}"/>
              </a:ext>
              <a:ext uri="{C183D7F6-B498-43B3-948B-1728B52AA6E4}">
                <adec:decorative xmlns:adec="http://schemas.microsoft.com/office/drawing/2017/decorative" val="0"/>
              </a:ext>
            </a:extLst>
          </p:cNvPr>
          <p:cNvSpPr>
            <a:spLocks noGrp="1"/>
          </p:cNvSpPr>
          <p:nvPr>
            <p:ph type="title"/>
          </p:nvPr>
        </p:nvSpPr>
        <p:spPr>
          <a:xfrm>
            <a:off x="588263" y="457200"/>
            <a:ext cx="2688337" cy="1138773"/>
          </a:xfrm>
        </p:spPr>
        <p:txBody>
          <a:bodyPr/>
          <a:lstStyle/>
          <a:p>
            <a:r>
              <a:rPr lang="en-US" dirty="0">
                <a:solidFill>
                  <a:schemeClr val="bg1"/>
                </a:solidFill>
                <a:cs typeface="Segoe UI"/>
              </a:rPr>
              <a:t>Exercise five summary</a:t>
            </a:r>
            <a:br>
              <a:rPr lang="en-US" b="0" spc="0" dirty="0">
                <a:ln>
                  <a:noFill/>
                </a:ln>
                <a:cs typeface="+mn-cs"/>
              </a:rPr>
            </a:br>
            <a:r>
              <a:rPr lang="en-US" altLang="zh-CN" sz="1800" spc="0" dirty="0">
                <a:ln>
                  <a:noFill/>
                </a:ln>
                <a:solidFill>
                  <a:schemeClr val="bg1"/>
                </a:solidFill>
                <a:latin typeface="+mj-lt"/>
              </a:rPr>
              <a:t>Make things secure</a:t>
            </a:r>
            <a:endParaRPr lang="en-US" sz="1800" dirty="0">
              <a:solidFill>
                <a:schemeClr val="bg1"/>
              </a:solidFill>
            </a:endParaRPr>
          </a:p>
        </p:txBody>
      </p:sp>
      <p:sp>
        <p:nvSpPr>
          <p:cNvPr id="10" name="Freeform: Shape 9">
            <a:extLst>
              <a:ext uri="{FF2B5EF4-FFF2-40B4-BE49-F238E27FC236}">
                <a16:creationId xmlns:a16="http://schemas.microsoft.com/office/drawing/2014/main" id="{1E98F374-AEB3-0659-95E2-34C88EF9BD14}"/>
              </a:ext>
              <a:ext uri="{C183D7F6-B498-43B3-948B-1728B52AA6E4}">
                <adec:decorative xmlns:adec="http://schemas.microsoft.com/office/drawing/2017/decorative" val="0"/>
              </a:ext>
            </a:extLst>
          </p:cNvPr>
          <p:cNvSpPr/>
          <p:nvPr/>
        </p:nvSpPr>
        <p:spPr bwMode="auto">
          <a:xfrm>
            <a:off x="3563899" y="281360"/>
            <a:ext cx="8603023" cy="605683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 uri="{C183D7F6-B498-43B3-948B-1728B52AA6E4}">
                <adec:decorative xmlns:adec="http://schemas.microsoft.com/office/drawing/2017/decorative" val="0"/>
              </a:ext>
            </a:extLst>
          </p:cNvPr>
          <p:cNvSpPr/>
          <p:nvPr/>
        </p:nvSpPr>
        <p:spPr bwMode="auto">
          <a:xfrm>
            <a:off x="3729802" y="281360"/>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mn-cs"/>
              </a:rPr>
              <a:t>In this exercise you:</a:t>
            </a:r>
          </a:p>
        </p:txBody>
      </p:sp>
      <p:grpSp>
        <p:nvGrpSpPr>
          <p:cNvPr id="13" name="Group 12">
            <a:extLst>
              <a:ext uri="{FF2B5EF4-FFF2-40B4-BE49-F238E27FC236}">
                <a16:creationId xmlns:a16="http://schemas.microsoft.com/office/drawing/2014/main" id="{36A25F59-5F30-9691-A845-51AAB6A9473E}"/>
              </a:ext>
              <a:ext uri="{C183D7F6-B498-43B3-948B-1728B52AA6E4}">
                <adec:decorative xmlns:adec="http://schemas.microsoft.com/office/drawing/2017/decorative" val="1"/>
              </a:ext>
            </a:extLst>
          </p:cNvPr>
          <p:cNvGrpSpPr/>
          <p:nvPr/>
        </p:nvGrpSpPr>
        <p:grpSpPr>
          <a:xfrm>
            <a:off x="3810887" y="377378"/>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ext Placeholder 4">
            <a:extLst>
              <a:ext uri="{FF2B5EF4-FFF2-40B4-BE49-F238E27FC236}">
                <a16:creationId xmlns:a16="http://schemas.microsoft.com/office/drawing/2014/main" id="{430363F1-F33D-6CF1-83DE-0DF963811E1A}"/>
              </a:ext>
            </a:extLst>
          </p:cNvPr>
          <p:cNvSpPr txBox="1">
            <a:spLocks/>
          </p:cNvSpPr>
          <p:nvPr/>
        </p:nvSpPr>
        <p:spPr>
          <a:xfrm>
            <a:off x="3588978" y="883800"/>
            <a:ext cx="8265566" cy="431502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1000"/>
              </a:spcBef>
            </a:pPr>
            <a:endParaRPr lang="en-US" dirty="0">
              <a:latin typeface="Segoe UI"/>
              <a:cs typeface="Arial"/>
            </a:endParaRP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onfigured branching in GitHub.</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Set up protected branches.</a:t>
            </a:r>
          </a:p>
          <a:p>
            <a:pPr marL="285750" indent="-285750">
              <a:lnSpc>
                <a:spcPct val="90000"/>
              </a:lnSpc>
              <a:spcBef>
                <a:spcPts val="1000"/>
              </a:spcBef>
              <a:buFont typeface="Arial" panose="05000000000000000000" pitchFamily="2" charset="2"/>
              <a:buChar char="•"/>
            </a:pPr>
            <a:r>
              <a:rPr lang="en-US" sz="2800" dirty="0">
                <a:solidFill>
                  <a:srgbClr val="000000"/>
                </a:solidFill>
                <a:latin typeface="Segoe UI "/>
              </a:rPr>
              <a:t>Set up a GitHub security policy.</a:t>
            </a:r>
            <a:endParaRPr kumimoji="0" lang="en-US" sz="2800" b="0" i="0" u="none" strike="noStrike" kern="1200" cap="none" spc="0" normalizeH="0" baseline="0" noProof="0" dirty="0">
              <a:ln>
                <a:noFill/>
              </a:ln>
              <a:solidFill>
                <a:srgbClr val="000000"/>
              </a:solidFill>
              <a:effectLst/>
              <a:uLnTx/>
              <a:uFillTx/>
              <a:latin typeface="Segoe UI "/>
              <a:ea typeface="+mn-ea"/>
              <a:cs typeface="+mn-cs"/>
            </a:endParaRP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onfigured code security and vulnerability scanning.</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reated app monitoring dashboards.</a:t>
            </a:r>
          </a:p>
          <a:p>
            <a:pPr marL="285750" indent="-285750">
              <a:lnSpc>
                <a:spcPct val="90000"/>
              </a:lnSpc>
              <a:spcBef>
                <a:spcPts val="1000"/>
              </a:spcBef>
              <a:buFont typeface="Arial" panose="05000000000000000000" pitchFamily="2" charset="2"/>
              <a:buChar char="•"/>
            </a:pPr>
            <a:r>
              <a:rPr kumimoji="0" lang="en-US" sz="28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a:p>
            <a:endParaRPr lang="en-US" sz="2400" b="1" dirty="0">
              <a:latin typeface="Segoe UI"/>
            </a:endParaRPr>
          </a:p>
        </p:txBody>
      </p:sp>
    </p:spTree>
    <p:custDataLst>
      <p:tags r:id="rId1"/>
    </p:custDataLst>
    <p:extLst>
      <p:ext uri="{BB962C8B-B14F-4D97-AF65-F5344CB8AC3E}">
        <p14:creationId xmlns:p14="http://schemas.microsoft.com/office/powerpoint/2010/main" val="31103329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mj-lt"/>
                <a:ea typeface="+mn-ea"/>
                <a:cs typeface="Segoe UI"/>
              </a:rPr>
              <a:t>Debrief exercise five</a:t>
            </a:r>
            <a:endParaRPr kumimoji="0" lang="en-US" sz="36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Reflection and discussion points</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750163" y="1927383"/>
            <a:ext cx="12359552" cy="4265783"/>
          </a:xfrm>
        </p:spPr>
        <p:txBody>
          <a:bodyPr vert="horz" wrap="square" lIns="0" tIns="0" rIns="0" bIns="0" rtlCol="0" anchor="t">
            <a:spAutoFit/>
          </a:bodyPr>
          <a:lstStyle/>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What were you expected to achieve, and why are these practices important in the context of DevOps and secure development?</a:t>
            </a:r>
          </a:p>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Did you successfully create a branch protection rule and implement security measures? Were there any challenges or discoveries along the way?</a:t>
            </a:r>
          </a:p>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Explain the importance of creating a branch protection rule in a version control system. How does this practice contribute to code quality, collaboration, and security?</a:t>
            </a:r>
          </a:p>
          <a:p>
            <a:pPr marL="1143000" marR="0" lvl="2" indent="-228600">
              <a:lnSpc>
                <a:spcPct val="115000"/>
              </a:lnSpc>
              <a:spcBef>
                <a:spcPts val="0"/>
              </a:spcBef>
              <a:spcAft>
                <a:spcPts val="0"/>
              </a:spcAft>
              <a:buFont typeface="Wingdings" panose="05000000000000000000" pitchFamily="2" charset="2"/>
              <a:buChar char=""/>
            </a:pPr>
            <a:r>
              <a:rPr lang="en-US" sz="2400" kern="100" dirty="0">
                <a:effectLst/>
                <a:ea typeface="DengXian" panose="02010600030101010101" pitchFamily="2" charset="-122"/>
                <a:cs typeface="Times New Roman" panose="02020603050405020304" pitchFamily="18" charset="0"/>
              </a:rPr>
              <a:t>Discuss the security measures you implemented during the exercise. What security best practices did you apply, and why are they crucial in software development?</a:t>
            </a:r>
          </a:p>
          <a:p>
            <a:pPr marL="285750" indent="-285750" algn="l" rtl="0" fontAlgn="base">
              <a:buFont typeface="Arial" panose="020B0604020202020204" pitchFamily="34" charset="0"/>
              <a:buChar char="•"/>
            </a:pPr>
            <a:endParaRPr lang="en-US" sz="2400"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39</a:t>
            </a:fld>
            <a:endParaRPr lang="en-US"/>
          </a:p>
        </p:txBody>
      </p:sp>
    </p:spTree>
    <p:custDataLst>
      <p:tags r:id="rId1"/>
    </p:custDataLst>
    <p:extLst>
      <p:ext uri="{BB962C8B-B14F-4D97-AF65-F5344CB8AC3E}">
        <p14:creationId xmlns:p14="http://schemas.microsoft.com/office/powerpoint/2010/main" val="18971157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Performance testing – best practices</a:t>
            </a:r>
            <a:endParaRPr lang="en-US" dirty="0"/>
          </a:p>
        </p:txBody>
      </p:sp>
      <p:sp>
        <p:nvSpPr>
          <p:cNvPr id="4" name="Text Placeholder 4">
            <a:extLst>
              <a:ext uri="{FF2B5EF4-FFF2-40B4-BE49-F238E27FC236}">
                <a16:creationId xmlns:a16="http://schemas.microsoft.com/office/drawing/2014/main" id="{445083C8-403D-51D3-EF90-8B4E742676B2}"/>
              </a:ext>
            </a:extLst>
          </p:cNvPr>
          <p:cNvSpPr txBox="1">
            <a:spLocks/>
          </p:cNvSpPr>
          <p:nvPr/>
        </p:nvSpPr>
        <p:spPr>
          <a:xfrm>
            <a:off x="297144" y="1055985"/>
            <a:ext cx="11704356" cy="381642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Arial" panose="020B0604020202020204" pitchFamily="34" charset="0"/>
              <a:buChar char="•"/>
            </a:pPr>
            <a:r>
              <a:rPr lang="en-US" sz="3200" dirty="0">
                <a:solidFill>
                  <a:srgbClr val="161616"/>
                </a:solidFill>
                <a:latin typeface="Segoe UI" panose="020B0502040204020203" pitchFamily="34" charset="0"/>
              </a:rPr>
              <a:t>C</a:t>
            </a:r>
            <a:r>
              <a:rPr lang="en-US" sz="3200" b="0" i="0" dirty="0">
                <a:solidFill>
                  <a:srgbClr val="161616"/>
                </a:solidFill>
                <a:effectLst/>
                <a:latin typeface="Segoe UI" panose="020B0502040204020203" pitchFamily="34" charset="0"/>
              </a:rPr>
              <a:t>ommit time and resources to test system performance. </a:t>
            </a:r>
          </a:p>
          <a:p>
            <a:pPr marL="457200" indent="-457200" algn="l">
              <a:buFont typeface="Arial" panose="020B0604020202020204" pitchFamily="34" charset="0"/>
              <a:buChar char="•"/>
            </a:pPr>
            <a:r>
              <a:rPr lang="en-US" sz="3200" dirty="0">
                <a:solidFill>
                  <a:srgbClr val="161616"/>
                </a:solidFill>
                <a:latin typeface="Segoe UI" panose="020B0502040204020203" pitchFamily="34" charset="0"/>
              </a:rPr>
              <a:t>P</a:t>
            </a:r>
            <a:r>
              <a:rPr lang="en-US" sz="3200" b="0" i="0" dirty="0">
                <a:solidFill>
                  <a:srgbClr val="161616"/>
                </a:solidFill>
                <a:effectLst/>
                <a:latin typeface="Segoe UI" panose="020B0502040204020203" pitchFamily="34" charset="0"/>
              </a:rPr>
              <a:t>lan for a load buffer to accommodate random spikes without overloading the infrastructure.</a:t>
            </a:r>
          </a:p>
          <a:p>
            <a:pPr marL="457200" indent="-457200" algn="l">
              <a:buFont typeface="Arial" panose="020B0604020202020204" pitchFamily="34" charset="0"/>
              <a:buChar char="•"/>
            </a:pPr>
            <a:r>
              <a:rPr lang="en-US" sz="3200" dirty="0">
                <a:solidFill>
                  <a:srgbClr val="161616"/>
                </a:solidFill>
                <a:latin typeface="Segoe UI" panose="020B0502040204020203" pitchFamily="34" charset="0"/>
              </a:rPr>
              <a:t>P</a:t>
            </a:r>
            <a:r>
              <a:rPr lang="en-US" sz="3200" b="0" i="0" dirty="0">
                <a:solidFill>
                  <a:srgbClr val="161616"/>
                </a:solidFill>
                <a:effectLst/>
                <a:latin typeface="Segoe UI" panose="020B0502040204020203" pitchFamily="34" charset="0"/>
              </a:rPr>
              <a:t>lan for and maintain a testing infrastructure. You can use a cloud-based tool, such as </a:t>
            </a:r>
            <a:r>
              <a:rPr lang="en-US" sz="3200" b="0" i="0" u="none" strike="noStrike" dirty="0">
                <a:solidFill>
                  <a:srgbClr val="161616"/>
                </a:solidFill>
                <a:effectLst/>
                <a:latin typeface="Segoe UI" panose="020B0502040204020203" pitchFamily="34" charset="0"/>
                <a:hlinkClick r:id="rId4"/>
              </a:rPr>
              <a:t>Azure Load Testing</a:t>
            </a:r>
            <a:r>
              <a:rPr lang="en-US" sz="3200" b="0" i="0" dirty="0">
                <a:solidFill>
                  <a:srgbClr val="161616"/>
                </a:solidFill>
                <a:effectLst/>
                <a:latin typeface="Segoe UI" panose="020B0502040204020203" pitchFamily="34" charset="0"/>
              </a:rPr>
              <a:t>, to abstract the infrastructure needed to run your performance tests.</a:t>
            </a:r>
          </a:p>
          <a:p>
            <a:pPr marL="342900" indent="-342900">
              <a:buFont typeface="Arial" panose="020B0604020202020204" pitchFamily="34" charset="0"/>
              <a:buChar char="•"/>
            </a:pPr>
            <a:endParaRPr lang="en-US" sz="3600" dirty="0">
              <a:solidFill>
                <a:srgbClr val="1F2328"/>
              </a:solidFill>
              <a:latin typeface="+mj-lt"/>
            </a:endParaRPr>
          </a:p>
        </p:txBody>
      </p:sp>
    </p:spTree>
    <p:custDataLst>
      <p:tags r:id="rId1"/>
    </p:custDataLst>
    <p:extLst>
      <p:ext uri="{BB962C8B-B14F-4D97-AF65-F5344CB8AC3E}">
        <p14:creationId xmlns:p14="http://schemas.microsoft.com/office/powerpoint/2010/main" val="27583513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mj-lt"/>
                <a:ea typeface="+mn-ea"/>
                <a:cs typeface="Segoe UI"/>
              </a:rPr>
              <a:t>Debrief exercise five</a:t>
            </a:r>
            <a:endParaRPr kumimoji="0" lang="en-US" sz="36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Reflection and discussion points (Cont’d.)</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750163" y="1879257"/>
            <a:ext cx="12573196" cy="5073184"/>
          </a:xfrm>
        </p:spPr>
        <p:txBody>
          <a:bodyPr vert="horz" wrap="square" lIns="0" tIns="0" rIns="0" bIns="0" rtlCol="0" anchor="t">
            <a:spAutoFit/>
          </a:bodyPr>
          <a:lstStyle/>
          <a:p>
            <a:pPr marL="1143000" marR="0" lvl="2" indent="-228600">
              <a:lnSpc>
                <a:spcPct val="115000"/>
              </a:lnSpc>
              <a:spcBef>
                <a:spcPts val="0"/>
              </a:spcBef>
              <a:spcAft>
                <a:spcPts val="0"/>
              </a:spcAft>
              <a:buFont typeface="Wingdings" panose="05000000000000000000" pitchFamily="2" charset="2"/>
              <a:buChar char=""/>
            </a:pPr>
            <a:r>
              <a:rPr lang="en-US" sz="2000" kern="100" dirty="0">
                <a:effectLst/>
                <a:ea typeface="DengXian" panose="02010600030101010101" pitchFamily="2" charset="-122"/>
                <a:cs typeface="Times New Roman" panose="02020603050405020304" pitchFamily="18" charset="0"/>
              </a:rPr>
              <a:t>Reinforce your understanding of the exercise's content and answer these key concept knowledge check questions:</a:t>
            </a:r>
          </a:p>
          <a:p>
            <a:pPr marL="1600200" marR="0" lvl="3" indent="-228600">
              <a:lnSpc>
                <a:spcPct val="115000"/>
              </a:lnSpc>
              <a:spcBef>
                <a:spcPts val="0"/>
              </a:spcBef>
              <a:spcAft>
                <a:spcPts val="0"/>
              </a:spcAft>
              <a:buFont typeface="Symbol" panose="05050102010706020507" pitchFamily="18" charset="2"/>
              <a:buChar char=""/>
            </a:pPr>
            <a:r>
              <a:rPr lang="en-US" sz="2000" kern="100" dirty="0">
                <a:effectLst/>
                <a:ea typeface="DengXian" panose="02010600030101010101" pitchFamily="2" charset="-122"/>
                <a:cs typeface="Times New Roman" panose="02020603050405020304" pitchFamily="18" charset="0"/>
              </a:rPr>
              <a:t>What is the purpose of a branch protection rule in version control, and how does it benefit a development team?</a:t>
            </a:r>
          </a:p>
          <a:p>
            <a:pPr marL="1600200" marR="0" lvl="3" indent="-228600">
              <a:lnSpc>
                <a:spcPct val="115000"/>
              </a:lnSpc>
              <a:spcBef>
                <a:spcPts val="0"/>
              </a:spcBef>
              <a:spcAft>
                <a:spcPts val="0"/>
              </a:spcAft>
              <a:buFont typeface="Symbol" panose="05050102010706020507" pitchFamily="18" charset="2"/>
              <a:buChar char=""/>
            </a:pPr>
            <a:r>
              <a:rPr lang="en-US" sz="2000" kern="100" dirty="0">
                <a:effectLst/>
                <a:ea typeface="DengXian" panose="02010600030101010101" pitchFamily="2" charset="-122"/>
                <a:cs typeface="Times New Roman" panose="02020603050405020304" pitchFamily="18" charset="0"/>
              </a:rPr>
              <a:t>What security practices did you implement during the exercise, and how do they enhance the security of your codebase?</a:t>
            </a:r>
          </a:p>
          <a:p>
            <a:pPr marL="1600200" marR="0" lvl="3" indent="-228600">
              <a:lnSpc>
                <a:spcPct val="115000"/>
              </a:lnSpc>
              <a:spcBef>
                <a:spcPts val="0"/>
              </a:spcBef>
              <a:spcAft>
                <a:spcPts val="0"/>
              </a:spcAft>
              <a:buFont typeface="Symbol" panose="05050102010706020507" pitchFamily="18" charset="2"/>
              <a:buChar char=""/>
            </a:pPr>
            <a:r>
              <a:rPr lang="en-US" sz="2000" kern="100" dirty="0">
                <a:effectLst/>
                <a:ea typeface="DengXian" panose="02010600030101010101" pitchFamily="2" charset="-122"/>
                <a:cs typeface="Times New Roman" panose="02020603050405020304" pitchFamily="18" charset="0"/>
              </a:rPr>
              <a:t>How can monitoring tools and practices help identify and respond to security vulnerabilities and code quality issues?</a:t>
            </a:r>
          </a:p>
          <a:p>
            <a:pPr marL="1143000" marR="0" lvl="2" indent="-228600">
              <a:lnSpc>
                <a:spcPct val="115000"/>
              </a:lnSpc>
              <a:spcBef>
                <a:spcPts val="0"/>
              </a:spcBef>
              <a:spcAft>
                <a:spcPts val="0"/>
              </a:spcAft>
              <a:buFont typeface="Wingdings" panose="05000000000000000000" pitchFamily="2" charset="2"/>
              <a:buChar char=""/>
            </a:pPr>
            <a:r>
              <a:rPr lang="en-US" sz="2000" kern="100" dirty="0">
                <a:effectLst/>
                <a:ea typeface="DengXian" panose="02010600030101010101" pitchFamily="2" charset="-122"/>
                <a:cs typeface="Times New Roman" panose="02020603050405020304" pitchFamily="18" charset="0"/>
              </a:rPr>
              <a:t>Consider how the skills and practices you learned in this exercise can be applied in real-world scenarios or in your own projects. Why are these practices valuable in professional software development?</a:t>
            </a:r>
          </a:p>
          <a:p>
            <a:pPr marL="1143000" marR="0" lvl="2" indent="-228600">
              <a:lnSpc>
                <a:spcPct val="115000"/>
              </a:lnSpc>
              <a:spcBef>
                <a:spcPts val="0"/>
              </a:spcBef>
              <a:spcAft>
                <a:spcPts val="800"/>
              </a:spcAft>
              <a:buFont typeface="Wingdings" panose="05000000000000000000" pitchFamily="2" charset="2"/>
              <a:buChar char=""/>
            </a:pPr>
            <a:r>
              <a:rPr lang="en-US" sz="2000" kern="100" dirty="0">
                <a:effectLst/>
                <a:ea typeface="DengXian" panose="02010600030101010101" pitchFamily="2" charset="-122"/>
                <a:cs typeface="Times New Roman" panose="02020603050405020304" pitchFamily="18" charset="0"/>
              </a:rPr>
              <a:t>If you have any questions about branch protection, security practices, or monitoring, feel free to ask. The coach is here to provide guidance and explanations.</a:t>
            </a:r>
          </a:p>
          <a:p>
            <a:pPr marL="285750" indent="-285750" algn="l" rtl="0" fontAlgn="base">
              <a:buFont typeface="Arial" panose="020B0604020202020204" pitchFamily="34" charset="0"/>
              <a:buChar char="•"/>
            </a:pPr>
            <a:endParaRPr lang="en-US"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40</a:t>
            </a:fld>
            <a:endParaRPr lang="en-US"/>
          </a:p>
        </p:txBody>
      </p:sp>
    </p:spTree>
    <p:custDataLst>
      <p:tags r:id="rId1"/>
    </p:custDataLst>
    <p:extLst>
      <p:ext uri="{BB962C8B-B14F-4D97-AF65-F5344CB8AC3E}">
        <p14:creationId xmlns:p14="http://schemas.microsoft.com/office/powerpoint/2010/main" val="19858338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Different types of performance testing</a:t>
            </a:r>
            <a:endParaRPr lang="en-US" dirty="0"/>
          </a:p>
        </p:txBody>
      </p:sp>
      <p:sp>
        <p:nvSpPr>
          <p:cNvPr id="4" name="Text Placeholder 4">
            <a:extLst>
              <a:ext uri="{FF2B5EF4-FFF2-40B4-BE49-F238E27FC236}">
                <a16:creationId xmlns:a16="http://schemas.microsoft.com/office/drawing/2014/main" id="{445083C8-403D-51D3-EF90-8B4E742676B2}"/>
              </a:ext>
            </a:extLst>
          </p:cNvPr>
          <p:cNvSpPr txBox="1">
            <a:spLocks/>
          </p:cNvSpPr>
          <p:nvPr/>
        </p:nvSpPr>
        <p:spPr>
          <a:xfrm>
            <a:off x="431115" y="1231490"/>
            <a:ext cx="11310656" cy="254839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3600" dirty="0">
                <a:solidFill>
                  <a:srgbClr val="1F2328"/>
                </a:solidFill>
                <a:latin typeface="+mj-lt"/>
              </a:rPr>
              <a:t>Establish baselines</a:t>
            </a:r>
          </a:p>
          <a:p>
            <a:pPr marL="342900" indent="-342900">
              <a:buFont typeface="Arial" panose="020B0604020202020204" pitchFamily="34" charset="0"/>
              <a:buChar char="•"/>
            </a:pPr>
            <a:r>
              <a:rPr lang="en-US" sz="3600" dirty="0">
                <a:solidFill>
                  <a:srgbClr val="1F2328"/>
                </a:solidFill>
                <a:latin typeface="+mj-lt"/>
              </a:rPr>
              <a:t>Load testing</a:t>
            </a:r>
          </a:p>
          <a:p>
            <a:pPr marL="342900" indent="-342900">
              <a:buFont typeface="Arial" panose="020B0604020202020204" pitchFamily="34" charset="0"/>
              <a:buChar char="•"/>
            </a:pPr>
            <a:r>
              <a:rPr lang="en-US" sz="3600" dirty="0">
                <a:solidFill>
                  <a:srgbClr val="1F2328"/>
                </a:solidFill>
                <a:latin typeface="+mj-lt"/>
              </a:rPr>
              <a:t>Stress testing</a:t>
            </a:r>
          </a:p>
          <a:p>
            <a:pPr marL="342900" indent="-342900">
              <a:buFont typeface="Arial" panose="020B0604020202020204" pitchFamily="34" charset="0"/>
              <a:buChar char="•"/>
            </a:pPr>
            <a:r>
              <a:rPr lang="en-US" sz="3600" dirty="0">
                <a:solidFill>
                  <a:srgbClr val="1F2328"/>
                </a:solidFill>
                <a:latin typeface="+mj-lt"/>
              </a:rPr>
              <a:t>Multi-region testing</a:t>
            </a:r>
          </a:p>
        </p:txBody>
      </p:sp>
    </p:spTree>
    <p:custDataLst>
      <p:tags r:id="rId1"/>
    </p:custDataLst>
    <p:extLst>
      <p:ext uri="{BB962C8B-B14F-4D97-AF65-F5344CB8AC3E}">
        <p14:creationId xmlns:p14="http://schemas.microsoft.com/office/powerpoint/2010/main" val="28574193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Compare load and stress testing</a:t>
            </a:r>
            <a:endParaRPr lang="en-US" dirty="0"/>
          </a:p>
        </p:txBody>
      </p:sp>
      <p:graphicFrame>
        <p:nvGraphicFramePr>
          <p:cNvPr id="5" name="Table 4">
            <a:extLst>
              <a:ext uri="{FF2B5EF4-FFF2-40B4-BE49-F238E27FC236}">
                <a16:creationId xmlns:a16="http://schemas.microsoft.com/office/drawing/2014/main" id="{BE0DB4C2-A28A-5AEC-33FF-310F33AF4F70}"/>
              </a:ext>
            </a:extLst>
          </p:cNvPr>
          <p:cNvGraphicFramePr>
            <a:graphicFrameLocks noGrp="1"/>
          </p:cNvGraphicFramePr>
          <p:nvPr/>
        </p:nvGraphicFramePr>
        <p:xfrm>
          <a:off x="11747" y="990600"/>
          <a:ext cx="12180253" cy="5821680"/>
        </p:xfrm>
        <a:graphic>
          <a:graphicData uri="http://schemas.openxmlformats.org/drawingml/2006/table">
            <a:tbl>
              <a:tblPr firstRow="1" bandRow="1">
                <a:tableStyleId>{5C22544A-7EE6-4342-B048-85BDC9FD1C3A}</a:tableStyleId>
              </a:tblPr>
              <a:tblGrid>
                <a:gridCol w="1466533">
                  <a:extLst>
                    <a:ext uri="{9D8B030D-6E8A-4147-A177-3AD203B41FA5}">
                      <a16:colId xmlns:a16="http://schemas.microsoft.com/office/drawing/2014/main" val="3925393516"/>
                    </a:ext>
                  </a:extLst>
                </a:gridCol>
                <a:gridCol w="5041053">
                  <a:extLst>
                    <a:ext uri="{9D8B030D-6E8A-4147-A177-3AD203B41FA5}">
                      <a16:colId xmlns:a16="http://schemas.microsoft.com/office/drawing/2014/main" val="2892565625"/>
                    </a:ext>
                  </a:extLst>
                </a:gridCol>
                <a:gridCol w="5672667">
                  <a:extLst>
                    <a:ext uri="{9D8B030D-6E8A-4147-A177-3AD203B41FA5}">
                      <a16:colId xmlns:a16="http://schemas.microsoft.com/office/drawing/2014/main" val="1047625461"/>
                    </a:ext>
                  </a:extLst>
                </a:gridCol>
              </a:tblGrid>
              <a:tr h="307777">
                <a:tc>
                  <a:txBody>
                    <a:bodyPr/>
                    <a:lstStyle/>
                    <a:p>
                      <a:pPr algn="ctr"/>
                      <a:endParaRPr lang="en-US" sz="1600" dirty="0"/>
                    </a:p>
                  </a:txBody>
                  <a:tcPr/>
                </a:tc>
                <a:tc>
                  <a:txBody>
                    <a:bodyPr/>
                    <a:lstStyle/>
                    <a:p>
                      <a:pPr algn="ctr"/>
                      <a:r>
                        <a:rPr lang="en-US" sz="1600" dirty="0"/>
                        <a:t>Load Testing</a:t>
                      </a:r>
                    </a:p>
                  </a:txBody>
                  <a:tcPr/>
                </a:tc>
                <a:tc>
                  <a:txBody>
                    <a:bodyPr/>
                    <a:lstStyle/>
                    <a:p>
                      <a:pPr algn="ctr"/>
                      <a:r>
                        <a:rPr lang="en-US" sz="1600" dirty="0"/>
                        <a:t>Stress Testing</a:t>
                      </a:r>
                    </a:p>
                  </a:txBody>
                  <a:tcPr/>
                </a:tc>
                <a:extLst>
                  <a:ext uri="{0D108BD9-81ED-4DB2-BD59-A6C34878D82A}">
                    <a16:rowId xmlns:a16="http://schemas.microsoft.com/office/drawing/2014/main" val="88216698"/>
                  </a:ext>
                </a:extLst>
              </a:tr>
              <a:tr h="912296">
                <a:tc>
                  <a:txBody>
                    <a:bodyPr/>
                    <a:lstStyle/>
                    <a:p>
                      <a:r>
                        <a:rPr lang="en-US" sz="1600" b="1" dirty="0"/>
                        <a:t>What is it?</a:t>
                      </a:r>
                    </a:p>
                  </a:txBody>
                  <a:tcPr/>
                </a:tc>
                <a:tc>
                  <a:txBody>
                    <a:bodyPr/>
                    <a:lstStyle/>
                    <a:p>
                      <a:pPr marL="285750" indent="-285750">
                        <a:buFont typeface="Arial" panose="020B0604020202020204" pitchFamily="34" charset="0"/>
                        <a:buChar char="•"/>
                      </a:pPr>
                      <a:r>
                        <a:rPr lang="en-US" sz="1600" kern="1200" dirty="0">
                          <a:solidFill>
                            <a:schemeClr val="dk1"/>
                          </a:solidFill>
                          <a:effectLst/>
                          <a:latin typeface="+mn-lt"/>
                          <a:ea typeface="+mn-ea"/>
                          <a:cs typeface="+mn-cs"/>
                        </a:rPr>
                        <a:t>Measures system performance as the workload increases. </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Identifies the capacity where and when your application breaks. </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Determines latency across distributed applications and microservices.</a:t>
                      </a:r>
                    </a:p>
                    <a:p>
                      <a:pPr marL="285750" indent="-285750">
                        <a:buFont typeface="Arial" panose="020B0604020202020204" pitchFamily="34" charset="0"/>
                        <a:buChar char="•"/>
                      </a:pPr>
                      <a:endParaRPr lang="en-US" sz="1600" dirty="0"/>
                    </a:p>
                  </a:txBody>
                  <a:tcPr/>
                </a:tc>
                <a:tc>
                  <a:txBody>
                    <a:bodyPr/>
                    <a:lstStyle/>
                    <a:p>
                      <a:pPr marL="285750" indent="-285750">
                        <a:buFont typeface="Arial" panose="020B0604020202020204" pitchFamily="34" charset="0"/>
                        <a:buChar char="•"/>
                      </a:pPr>
                      <a:r>
                        <a:rPr lang="en-US" sz="1600" kern="1200" dirty="0">
                          <a:solidFill>
                            <a:schemeClr val="dk1"/>
                          </a:solidFill>
                          <a:effectLst/>
                          <a:latin typeface="+mn-lt"/>
                          <a:ea typeface="+mn-ea"/>
                          <a:cs typeface="+mn-cs"/>
                        </a:rPr>
                        <a:t>Determines how stable a system is and its ability to withstand extreme increases in load.</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Focuses on overloading the system until it breaks.</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Identifies the system’s point of failure.</a:t>
                      </a:r>
                      <a:endParaRPr lang="en-US" sz="1600" dirty="0"/>
                    </a:p>
                  </a:txBody>
                  <a:tcPr/>
                </a:tc>
                <a:extLst>
                  <a:ext uri="{0D108BD9-81ED-4DB2-BD59-A6C34878D82A}">
                    <a16:rowId xmlns:a16="http://schemas.microsoft.com/office/drawing/2014/main" val="1296980765"/>
                  </a:ext>
                </a:extLst>
              </a:tr>
              <a:tr h="444643">
                <a:tc>
                  <a:txBody>
                    <a:bodyPr/>
                    <a:lstStyle/>
                    <a:p>
                      <a:r>
                        <a:rPr lang="en-US" sz="1600" b="1" dirty="0"/>
                        <a:t>Why is it performed?</a:t>
                      </a:r>
                    </a:p>
                  </a:txBody>
                  <a:tcPr/>
                </a:tc>
                <a:tc>
                  <a:txBody>
                    <a:bodyPr/>
                    <a:lstStyle/>
                    <a:p>
                      <a:r>
                        <a:rPr lang="en-US" sz="1600" kern="1200" dirty="0">
                          <a:solidFill>
                            <a:schemeClr val="dk1"/>
                          </a:solidFill>
                          <a:effectLst/>
                          <a:latin typeface="+mn-lt"/>
                          <a:ea typeface="+mn-ea"/>
                          <a:cs typeface="+mn-cs"/>
                        </a:rPr>
                        <a:t>This is done to be able to fix the issue before shipping to production. </a:t>
                      </a:r>
                    </a:p>
                    <a:p>
                      <a:endParaRPr lang="en-US" sz="1600"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mn-lt"/>
                          <a:ea typeface="+mn-ea"/>
                          <a:cs typeface="+mn-cs"/>
                        </a:rPr>
                        <a:t>This is done to find and understand what kind of load the current environment can adequately support.</a:t>
                      </a:r>
                    </a:p>
                  </a:txBody>
                  <a:tcPr/>
                </a:tc>
                <a:extLst>
                  <a:ext uri="{0D108BD9-81ED-4DB2-BD59-A6C34878D82A}">
                    <a16:rowId xmlns:a16="http://schemas.microsoft.com/office/drawing/2014/main" val="309408977"/>
                  </a:ext>
                </a:extLst>
              </a:tr>
              <a:tr h="631204">
                <a:tc>
                  <a:txBody>
                    <a:bodyPr/>
                    <a:lstStyle/>
                    <a:p>
                      <a:r>
                        <a:rPr lang="en-US" sz="1600" b="1" dirty="0"/>
                        <a:t>How is it done?</a:t>
                      </a:r>
                    </a:p>
                  </a:txBody>
                  <a:tcPr/>
                </a:tc>
                <a:tc>
                  <a:txBody>
                    <a:bodyPr/>
                    <a:lstStyle/>
                    <a:p>
                      <a:r>
                        <a:rPr lang="en-US" sz="1600" kern="1200" dirty="0">
                          <a:solidFill>
                            <a:schemeClr val="dk1"/>
                          </a:solidFill>
                          <a:effectLst/>
                          <a:latin typeface="+mn-lt"/>
                          <a:ea typeface="+mn-ea"/>
                          <a:cs typeface="+mn-cs"/>
                        </a:rPr>
                        <a:t>Load testing is done by testing system behavior under </a:t>
                      </a:r>
                      <a:r>
                        <a:rPr lang="en-US" sz="1600" b="1" kern="1200" dirty="0">
                          <a:solidFill>
                            <a:schemeClr val="dk1"/>
                          </a:solidFill>
                          <a:effectLst/>
                          <a:latin typeface="+mn-lt"/>
                          <a:ea typeface="+mn-ea"/>
                          <a:cs typeface="+mn-cs"/>
                        </a:rPr>
                        <a:t>typical</a:t>
                      </a:r>
                      <a:r>
                        <a:rPr lang="en-US" sz="1600" kern="1200" dirty="0">
                          <a:solidFill>
                            <a:schemeClr val="dk1"/>
                          </a:solidFill>
                          <a:effectLst/>
                          <a:latin typeface="+mn-lt"/>
                          <a:ea typeface="+mn-ea"/>
                          <a:cs typeface="+mn-cs"/>
                        </a:rPr>
                        <a:t> and </a:t>
                      </a:r>
                      <a:r>
                        <a:rPr lang="en-US" sz="1600" b="1" kern="1200" dirty="0">
                          <a:solidFill>
                            <a:schemeClr val="dk1"/>
                          </a:solidFill>
                          <a:effectLst/>
                          <a:latin typeface="+mn-lt"/>
                          <a:ea typeface="+mn-ea"/>
                          <a:cs typeface="+mn-cs"/>
                        </a:rPr>
                        <a:t>heavy loads.</a:t>
                      </a:r>
                      <a:endParaRPr lang="en-US" sz="1600" b="1" dirty="0"/>
                    </a:p>
                  </a:txBody>
                  <a:tcPr/>
                </a:tc>
                <a:tc>
                  <a:txBody>
                    <a:bodyPr/>
                    <a:lstStyle/>
                    <a:p>
                      <a:r>
                        <a:rPr lang="en-US" sz="1600" kern="1200" dirty="0">
                          <a:solidFill>
                            <a:schemeClr val="dk1"/>
                          </a:solidFill>
                          <a:effectLst/>
                          <a:latin typeface="+mn-lt"/>
                          <a:ea typeface="+mn-ea"/>
                          <a:cs typeface="+mn-cs"/>
                        </a:rPr>
                        <a:t>Stress testing is done by </a:t>
                      </a:r>
                      <a:r>
                        <a:rPr lang="en-US" sz="1600" b="1" kern="1200" dirty="0">
                          <a:solidFill>
                            <a:schemeClr val="dk1"/>
                          </a:solidFill>
                          <a:effectLst/>
                          <a:latin typeface="+mn-lt"/>
                          <a:ea typeface="+mn-ea"/>
                          <a:cs typeface="+mn-cs"/>
                        </a:rPr>
                        <a:t>increasing the load </a:t>
                      </a:r>
                      <a:r>
                        <a:rPr lang="en-US" sz="1600" kern="1200" dirty="0">
                          <a:solidFill>
                            <a:schemeClr val="dk1"/>
                          </a:solidFill>
                          <a:effectLst/>
                          <a:latin typeface="+mn-lt"/>
                          <a:ea typeface="+mn-ea"/>
                          <a:cs typeface="+mn-cs"/>
                        </a:rPr>
                        <a:t>as well as </a:t>
                      </a:r>
                      <a:r>
                        <a:rPr lang="en-US" sz="1600" b="1" kern="1200" dirty="0">
                          <a:solidFill>
                            <a:schemeClr val="dk1"/>
                          </a:solidFill>
                          <a:effectLst/>
                          <a:latin typeface="+mn-lt"/>
                          <a:ea typeface="+mn-ea"/>
                          <a:cs typeface="+mn-cs"/>
                        </a:rPr>
                        <a:t>reducing resources </a:t>
                      </a:r>
                      <a:r>
                        <a:rPr lang="en-US" sz="1600" kern="1200" dirty="0">
                          <a:solidFill>
                            <a:schemeClr val="dk1"/>
                          </a:solidFill>
                          <a:effectLst/>
                          <a:latin typeface="+mn-lt"/>
                          <a:ea typeface="+mn-ea"/>
                          <a:cs typeface="+mn-cs"/>
                        </a:rPr>
                        <a:t>to identify what happens when the machine runs out of memory or with increased latency.</a:t>
                      </a:r>
                    </a:p>
                    <a:p>
                      <a:endParaRPr lang="en-US" sz="1600" dirty="0"/>
                    </a:p>
                  </a:txBody>
                  <a:tcPr/>
                </a:tc>
                <a:extLst>
                  <a:ext uri="{0D108BD9-81ED-4DB2-BD59-A6C34878D82A}">
                    <a16:rowId xmlns:a16="http://schemas.microsoft.com/office/drawing/2014/main" val="1193572017"/>
                  </a:ext>
                </a:extLst>
              </a:tr>
              <a:tr h="307777">
                <a:tc>
                  <a:txBody>
                    <a:bodyPr/>
                    <a:lstStyle/>
                    <a:p>
                      <a:r>
                        <a:rPr lang="en-US" sz="1600" b="1" dirty="0"/>
                        <a:t>What is the impact on the user? </a:t>
                      </a:r>
                    </a:p>
                  </a:txBody>
                  <a:tcPr/>
                </a:tc>
                <a:tc>
                  <a:txBody>
                    <a:bodyPr/>
                    <a:lstStyle/>
                    <a:p>
                      <a:pPr marL="285750" indent="-285750">
                        <a:buFont typeface="Arial" panose="020B0604020202020204" pitchFamily="34" charset="0"/>
                        <a:buChar char="•"/>
                      </a:pPr>
                      <a:r>
                        <a:rPr lang="en-US" sz="1600" dirty="0"/>
                        <a:t>Takes place in stages of load, usually measured by virtual users (VUs) or simulated requests. </a:t>
                      </a:r>
                    </a:p>
                    <a:p>
                      <a:pPr marL="285750" indent="-285750">
                        <a:buFont typeface="Arial" panose="020B0604020202020204" pitchFamily="34" charset="0"/>
                        <a:buChar char="•"/>
                      </a:pPr>
                      <a:r>
                        <a:rPr lang="en-US" sz="1600" dirty="0"/>
                        <a:t>Happens over given intervals to provide insights into how and when your application needs to scale to continue meeting your SLA for your internal and external customers.</a:t>
                      </a:r>
                    </a:p>
                  </a:txBody>
                  <a:tcPr/>
                </a:tc>
                <a:tc>
                  <a:txBody>
                    <a:bodyPr/>
                    <a:lstStyle/>
                    <a:p>
                      <a:pPr marL="285750" indent="-285750">
                        <a:buFont typeface="Arial" panose="020B0604020202020204" pitchFamily="34" charset="0"/>
                        <a:buChar char="•"/>
                      </a:pPr>
                      <a:r>
                        <a:rPr lang="en-US" sz="1600" kern="1200" dirty="0">
                          <a:solidFill>
                            <a:schemeClr val="dk1"/>
                          </a:solidFill>
                          <a:effectLst/>
                          <a:latin typeface="+mn-lt"/>
                          <a:ea typeface="+mn-ea"/>
                          <a:cs typeface="+mn-cs"/>
                        </a:rPr>
                        <a:t>Determine the maximum demand you want to place on memory, CPU, and disk IOPS. After a stress test has been performed, you know the maximum supported load and an operational margin to perform scaling before the threshold has been reached. </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Allocating too high increases cost and allocating too low negatively impacts user experience.</a:t>
                      </a:r>
                    </a:p>
                  </a:txBody>
                  <a:tcPr/>
                </a:tc>
                <a:extLst>
                  <a:ext uri="{0D108BD9-81ED-4DB2-BD59-A6C34878D82A}">
                    <a16:rowId xmlns:a16="http://schemas.microsoft.com/office/drawing/2014/main" val="465812323"/>
                  </a:ext>
                </a:extLst>
              </a:tr>
            </a:tbl>
          </a:graphicData>
        </a:graphic>
      </p:graphicFrame>
    </p:spTree>
    <p:custDataLst>
      <p:tags r:id="rId1"/>
    </p:custDataLst>
    <p:extLst>
      <p:ext uri="{BB962C8B-B14F-4D97-AF65-F5344CB8AC3E}">
        <p14:creationId xmlns:p14="http://schemas.microsoft.com/office/powerpoint/2010/main" val="26697640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JMeter demo video</a:t>
            </a:r>
            <a:endParaRPr lang="en-US" dirty="0"/>
          </a:p>
        </p:txBody>
      </p:sp>
      <p:sp>
        <p:nvSpPr>
          <p:cNvPr id="5" name="Text Placeholder 4">
            <a:extLst>
              <a:ext uri="{FF2B5EF4-FFF2-40B4-BE49-F238E27FC236}">
                <a16:creationId xmlns:a16="http://schemas.microsoft.com/office/drawing/2014/main" id="{4F5AAE61-5141-C294-EFE3-414274A04B5F}"/>
              </a:ext>
            </a:extLst>
          </p:cNvPr>
          <p:cNvSpPr txBox="1">
            <a:spLocks/>
          </p:cNvSpPr>
          <p:nvPr/>
        </p:nvSpPr>
        <p:spPr>
          <a:xfrm>
            <a:off x="7345128" y="1127266"/>
            <a:ext cx="4674326" cy="49244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3200" dirty="0">
                <a:solidFill>
                  <a:srgbClr val="161616"/>
                </a:solidFill>
                <a:latin typeface="Segoe UI" panose="020B0502040204020203" pitchFamily="34" charset="0"/>
                <a:hlinkClick r:id="rId4"/>
              </a:rPr>
              <a:t>JMeter demo video link</a:t>
            </a:r>
            <a:endParaRPr lang="en-US" sz="3200" dirty="0">
              <a:solidFill>
                <a:srgbClr val="161616"/>
              </a:solidFill>
              <a:latin typeface="Segoe UI" panose="020B0502040204020203" pitchFamily="34" charset="0"/>
            </a:endParaRPr>
          </a:p>
        </p:txBody>
      </p:sp>
      <p:pic>
        <p:nvPicPr>
          <p:cNvPr id="9" name="Picture 8">
            <a:extLst>
              <a:ext uri="{FF2B5EF4-FFF2-40B4-BE49-F238E27FC236}">
                <a16:creationId xmlns:a16="http://schemas.microsoft.com/office/drawing/2014/main" id="{57FB2F90-8399-6DC1-3C84-431FDA688044}"/>
              </a:ext>
            </a:extLst>
          </p:cNvPr>
          <p:cNvPicPr>
            <a:picLocks noChangeAspect="1"/>
          </p:cNvPicPr>
          <p:nvPr/>
        </p:nvPicPr>
        <p:blipFill>
          <a:blip r:embed="rId5"/>
          <a:stretch>
            <a:fillRect/>
          </a:stretch>
        </p:blipFill>
        <p:spPr>
          <a:xfrm>
            <a:off x="172546" y="1030554"/>
            <a:ext cx="5186609" cy="2902657"/>
          </a:xfrm>
          <a:prstGeom prst="rect">
            <a:avLst/>
          </a:prstGeom>
        </p:spPr>
      </p:pic>
      <p:pic>
        <p:nvPicPr>
          <p:cNvPr id="13" name="Picture 12">
            <a:extLst>
              <a:ext uri="{FF2B5EF4-FFF2-40B4-BE49-F238E27FC236}">
                <a16:creationId xmlns:a16="http://schemas.microsoft.com/office/drawing/2014/main" id="{2EDDD213-664C-5EA3-0F24-40E93300AB4A}"/>
              </a:ext>
            </a:extLst>
          </p:cNvPr>
          <p:cNvPicPr>
            <a:picLocks noChangeAspect="1"/>
          </p:cNvPicPr>
          <p:nvPr/>
        </p:nvPicPr>
        <p:blipFill>
          <a:blip r:embed="rId6"/>
          <a:stretch>
            <a:fillRect/>
          </a:stretch>
        </p:blipFill>
        <p:spPr>
          <a:xfrm>
            <a:off x="4142568" y="1813301"/>
            <a:ext cx="8012564" cy="4458007"/>
          </a:xfrm>
          <a:prstGeom prst="rect">
            <a:avLst/>
          </a:prstGeom>
        </p:spPr>
      </p:pic>
      <p:sp>
        <p:nvSpPr>
          <p:cNvPr id="14" name="Rectangle: Rounded Corners 13">
            <a:extLst>
              <a:ext uri="{FF2B5EF4-FFF2-40B4-BE49-F238E27FC236}">
                <a16:creationId xmlns:a16="http://schemas.microsoft.com/office/drawing/2014/main" id="{116E704C-AA6D-1B8B-6A6C-0ACF67219A53}"/>
              </a:ext>
            </a:extLst>
          </p:cNvPr>
          <p:cNvSpPr/>
          <p:nvPr/>
        </p:nvSpPr>
        <p:spPr bwMode="auto">
          <a:xfrm>
            <a:off x="172546" y="2200760"/>
            <a:ext cx="3764023" cy="216976"/>
          </a:xfrm>
          <a:prstGeom prst="round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7233296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87FE99-E9EA-AB4B-66CE-242B2BE73AAA}"/>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dirty="0">
                <a:ln>
                  <a:noFill/>
                </a:ln>
                <a:solidFill>
                  <a:schemeClr val="bg1"/>
                </a:solidFill>
                <a:effectLst/>
                <a:uLnTx/>
                <a:uFillTx/>
                <a:latin typeface="+mj-lt"/>
                <a:ea typeface="+mn-ea"/>
                <a:cs typeface="Segoe UI"/>
              </a:rPr>
              <a:t>Exercise five</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93D32733-86D9-3AFD-9C29-F918C925F55C}"/>
              </a:ext>
            </a:extLst>
          </p:cNvPr>
          <p:cNvSpPr>
            <a:spLocks noGrp="1"/>
          </p:cNvSpPr>
          <p:nvPr>
            <p:ph type="body" sz="quarter" idx="12"/>
          </p:nvPr>
        </p:nvSpPr>
        <p:spPr>
          <a:xfrm>
            <a:off x="584200" y="5252490"/>
            <a:ext cx="10480421" cy="369332"/>
          </a:xfrm>
        </p:spPr>
        <p:txBody>
          <a:bodyPr vert="horz" wrap="square" lIns="0" tIns="0" rIns="0" bIns="0" rtlCol="0" anchor="t">
            <a:spAutoFit/>
          </a:bodyPr>
          <a:lstStyle/>
          <a:p>
            <a:r>
              <a:rPr lang="en-US" dirty="0">
                <a:cs typeface="Segoe UI"/>
              </a:rPr>
              <a:t>Make things secure</a:t>
            </a:r>
            <a:endParaRPr lang="en-US" dirty="0"/>
          </a:p>
        </p:txBody>
      </p:sp>
      <p:sp>
        <p:nvSpPr>
          <p:cNvPr id="4" name="Footer Placeholder 3">
            <a:extLst>
              <a:ext uri="{FF2B5EF4-FFF2-40B4-BE49-F238E27FC236}">
                <a16:creationId xmlns:a16="http://schemas.microsoft.com/office/drawing/2014/main" id="{2C57AA0B-4601-E924-DB3E-5A437D95F445}"/>
              </a:ext>
            </a:extLst>
          </p:cNvPr>
          <p:cNvSpPr>
            <a:spLocks noGrp="1"/>
          </p:cNvSpPr>
          <p:nvPr>
            <p:ph type="ftr" sz="quarter" idx="13"/>
          </p:nvPr>
        </p:nvSpPr>
        <p:spPr/>
        <p:txBody>
          <a:bodyPr/>
          <a:lstStyle/>
          <a:p>
            <a:r>
              <a:rPr lang="en-US"/>
              <a:t>Microsoft Confidential</a:t>
            </a:r>
          </a:p>
        </p:txBody>
      </p:sp>
    </p:spTree>
    <p:custDataLst>
      <p:tags r:id="rId1"/>
    </p:custDataLst>
    <p:extLst>
      <p:ext uri="{BB962C8B-B14F-4D97-AF65-F5344CB8AC3E}">
        <p14:creationId xmlns:p14="http://schemas.microsoft.com/office/powerpoint/2010/main" val="34019646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592B75F-3BF6-4737-A016-725FB949ABFA}"/>
              </a:ext>
              <a:ext uri="{C183D7F6-B498-43B3-948B-1728B52AA6E4}">
                <adec:decorative xmlns:adec="http://schemas.microsoft.com/office/drawing/2017/decorative" val="1"/>
              </a:ext>
            </a:extLst>
          </p:cNvPr>
          <p:cNvGrpSpPr/>
          <p:nvPr/>
        </p:nvGrpSpPr>
        <p:grpSpPr>
          <a:xfrm>
            <a:off x="-6185759" y="-1396268"/>
            <a:ext cx="10477905" cy="9094918"/>
            <a:chOff x="-6185759" y="-1396268"/>
            <a:chExt cx="10477905" cy="9094918"/>
          </a:xfrm>
        </p:grpSpPr>
        <p:sp>
          <p:nvSpPr>
            <p:cNvPr id="35" name="Oval 34">
              <a:extLst>
                <a:ext uri="{FF2B5EF4-FFF2-40B4-BE49-F238E27FC236}">
                  <a16:creationId xmlns:a16="http://schemas.microsoft.com/office/drawing/2014/main" id="{9445291A-0234-44B9-B848-7A623A17BFE9}"/>
                </a:ext>
                <a:ext uri="{C183D7F6-B498-43B3-948B-1728B52AA6E4}">
                  <adec:decorative xmlns:adec="http://schemas.microsoft.com/office/drawing/2017/decorative" val="1"/>
                </a:ext>
              </a:extLst>
            </p:cNvPr>
            <p:cNvSpPr/>
            <p:nvPr/>
          </p:nvSpPr>
          <p:spPr>
            <a:xfrm flipH="1">
              <a:off x="-6185759" y="-840652"/>
              <a:ext cx="8539302" cy="8539302"/>
            </a:xfrm>
            <a:prstGeom prst="ellipse">
              <a:avLst/>
            </a:prstGeom>
            <a:gradFill>
              <a:gsLst>
                <a:gs pos="100000">
                  <a:srgbClr val="D59DFF">
                    <a:alpha val="0"/>
                  </a:srgbClr>
                </a:gs>
                <a:gs pos="0">
                  <a:srgbClr val="1F9CF0">
                    <a:alpha val="46359"/>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9" name="Oval 38">
              <a:extLst>
                <a:ext uri="{FF2B5EF4-FFF2-40B4-BE49-F238E27FC236}">
                  <a16:creationId xmlns:a16="http://schemas.microsoft.com/office/drawing/2014/main" id="{FE40CCF1-AAA7-4D18-91A4-BDEA95A8EFCA}"/>
                </a:ext>
                <a:ext uri="{C183D7F6-B498-43B3-948B-1728B52AA6E4}">
                  <adec:decorative xmlns:adec="http://schemas.microsoft.com/office/drawing/2017/decorative" val="1"/>
                </a:ext>
              </a:extLst>
            </p:cNvPr>
            <p:cNvSpPr/>
            <p:nvPr/>
          </p:nvSpPr>
          <p:spPr>
            <a:xfrm flipH="1">
              <a:off x="1323506" y="3925162"/>
              <a:ext cx="2146475" cy="2146475"/>
            </a:xfrm>
            <a:prstGeom prst="ellipse">
              <a:avLst/>
            </a:prstGeom>
            <a:gradFill>
              <a:gsLst>
                <a:gs pos="0">
                  <a:srgbClr val="8661C5"/>
                </a:gs>
                <a:gs pos="100000">
                  <a:srgbClr val="161828"/>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pic>
          <p:nvPicPr>
            <p:cNvPr id="40" name="Picture 39">
              <a:extLst>
                <a:ext uri="{FF2B5EF4-FFF2-40B4-BE49-F238E27FC236}">
                  <a16:creationId xmlns:a16="http://schemas.microsoft.com/office/drawing/2014/main" id="{F777A30D-3EF0-4BE0-96B2-705DF218AAFD}"/>
                </a:ext>
                <a:ext uri="{C183D7F6-B498-43B3-948B-1728B52AA6E4}">
                  <adec:decorative xmlns:adec="http://schemas.microsoft.com/office/drawing/2017/decorative" val="1"/>
                </a:ext>
              </a:extLst>
            </p:cNvPr>
            <p:cNvPicPr>
              <a:picLocks noChangeAspect="1"/>
            </p:cNvPicPr>
            <p:nvPr/>
          </p:nvPicPr>
          <p:blipFill>
            <a:blip r:embed="rId4">
              <a:alphaModFix amt="30000"/>
              <a:extLst>
                <a:ext uri="{28A0092B-C50C-407E-A947-70E740481C1C}">
                  <a14:useLocalDpi xmlns:a14="http://schemas.microsoft.com/office/drawing/2010/main" val="0"/>
                </a:ext>
              </a:extLst>
            </a:blip>
            <a:srcRect/>
            <a:stretch/>
          </p:blipFill>
          <p:spPr>
            <a:xfrm flipH="1">
              <a:off x="-1181919" y="-1396268"/>
              <a:ext cx="5474065" cy="4717657"/>
            </a:xfrm>
            <a:prstGeom prst="rect">
              <a:avLst/>
            </a:prstGeom>
          </p:spPr>
        </p:pic>
        <p:cxnSp>
          <p:nvCxnSpPr>
            <p:cNvPr id="41" name="Straight Connector 40">
              <a:extLst>
                <a:ext uri="{FF2B5EF4-FFF2-40B4-BE49-F238E27FC236}">
                  <a16:creationId xmlns:a16="http://schemas.microsoft.com/office/drawing/2014/main" id="{FF7EBEB8-B547-4EF0-A9F7-0557959B8DCA}"/>
                </a:ext>
                <a:ext uri="{C183D7F6-B498-43B3-948B-1728B52AA6E4}">
                  <adec:decorative xmlns:adec="http://schemas.microsoft.com/office/drawing/2017/decorative" val="1"/>
                </a:ext>
              </a:extLst>
            </p:cNvPr>
            <p:cNvCxnSpPr>
              <a:cxnSpLocks/>
            </p:cNvCxnSpPr>
            <p:nvPr/>
          </p:nvCxnSpPr>
          <p:spPr>
            <a:xfrm>
              <a:off x="565863" y="83127"/>
              <a:ext cx="0" cy="3141168"/>
            </a:xfrm>
            <a:prstGeom prst="line">
              <a:avLst/>
            </a:prstGeom>
            <a:ln w="127000">
              <a:gradFill flip="none" rotWithShape="1">
                <a:gsLst>
                  <a:gs pos="5000">
                    <a:srgbClr val="1F9CF0"/>
                  </a:gs>
                  <a:gs pos="100000">
                    <a:srgbClr val="D59DFF"/>
                  </a:gs>
                </a:gsLst>
                <a:lin ang="5400000" scaled="1"/>
                <a:tileRect/>
              </a:gradFill>
            </a:ln>
          </p:spPr>
          <p:style>
            <a:lnRef idx="1">
              <a:schemeClr val="accent1"/>
            </a:lnRef>
            <a:fillRef idx="0">
              <a:schemeClr val="accent1"/>
            </a:fillRef>
            <a:effectRef idx="0">
              <a:schemeClr val="accent1"/>
            </a:effectRef>
            <a:fontRef idx="minor">
              <a:schemeClr val="tx1"/>
            </a:fontRef>
          </p:style>
        </p:cxnSp>
      </p:grpSp>
      <p:sp>
        <p:nvSpPr>
          <p:cNvPr id="144" name="Text Placeholder 2">
            <a:extLst>
              <a:ext uri="{FF2B5EF4-FFF2-40B4-BE49-F238E27FC236}">
                <a16:creationId xmlns:a16="http://schemas.microsoft.com/office/drawing/2014/main" id="{210C276D-CCB3-4D85-AFCF-EBAFC8B2E1D0}"/>
              </a:ext>
            </a:extLst>
          </p:cNvPr>
          <p:cNvSpPr txBox="1">
            <a:spLocks noGrp="1"/>
          </p:cNvSpPr>
          <p:nvPr>
            <p:ph type="title"/>
          </p:nvPr>
        </p:nvSpPr>
        <p:spPr>
          <a:xfrm>
            <a:off x="990113" y="629072"/>
            <a:ext cx="3383476" cy="202991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marL="0" marR="0" lvl="0" indent="0" algn="l" defTabSz="912971" rtl="0" eaLnBrk="1" fontAlgn="auto" latinLnBrk="0" hangingPunct="1">
              <a:lnSpc>
                <a:spcPct val="90000"/>
              </a:lnSpc>
              <a:spcBef>
                <a:spcPts val="999"/>
              </a:spcBef>
              <a:spcAft>
                <a:spcPts val="0"/>
              </a:spcAft>
              <a:buClrTx/>
              <a:buSzTx/>
              <a:buFont typeface="Arial" panose="020B0604020202020204" pitchFamily="34" charset="0"/>
              <a:buNone/>
              <a:tabLst/>
              <a:defRPr/>
            </a:pPr>
            <a:r>
              <a:rPr kumimoji="0" lang="en-US" sz="4500" b="1" i="0" u="none" strike="noStrike" kern="1200" cap="none" spc="0" normalizeH="0" baseline="0" noProof="0">
                <a:ln>
                  <a:noFill/>
                </a:ln>
                <a:solidFill>
                  <a:prstClr val="white"/>
                </a:solidFill>
                <a:effectLst>
                  <a:outerShdw blurRad="1270000" dist="914400" dir="8100000" algn="tr" rotWithShape="0">
                    <a:prstClr val="black">
                      <a:alpha val="40000"/>
                    </a:prstClr>
                  </a:outerShdw>
                </a:effectLst>
                <a:uLnTx/>
                <a:uFillTx/>
                <a:latin typeface="Helvetica" pitchFamily="2" charset="0"/>
                <a:ea typeface="+mn-ea"/>
                <a:cs typeface="+mn-cs"/>
              </a:rPr>
              <a:t>The benefits of </a:t>
            </a:r>
            <a:r>
              <a:rPr kumimoji="0" lang="en-US" sz="4500" b="1" i="0" u="none" strike="noStrike" kern="1200" cap="none" spc="0" normalizeH="0" baseline="0" noProof="0" err="1">
                <a:ln>
                  <a:noFill/>
                </a:ln>
                <a:solidFill>
                  <a:prstClr val="white"/>
                </a:solidFill>
                <a:effectLst>
                  <a:outerShdw blurRad="1270000" dist="914400" dir="8100000" algn="tr" rotWithShape="0">
                    <a:prstClr val="black">
                      <a:alpha val="40000"/>
                    </a:prstClr>
                  </a:outerShdw>
                </a:effectLst>
                <a:uLnTx/>
                <a:uFillTx/>
                <a:latin typeface="Helvetica" pitchFamily="2" charset="0"/>
                <a:ea typeface="+mn-ea"/>
                <a:cs typeface="+mn-cs"/>
              </a:rPr>
              <a:t>DevSecOps</a:t>
            </a:r>
            <a:endParaRPr kumimoji="0" lang="id-ID" sz="4500" b="1" i="0" u="none" strike="noStrike" kern="1200" cap="none" spc="0" normalizeH="0" baseline="0" noProof="0">
              <a:ln>
                <a:noFill/>
              </a:ln>
              <a:solidFill>
                <a:prstClr val="white"/>
              </a:solidFill>
              <a:effectLst>
                <a:outerShdw blurRad="1270000" dist="914400" dir="8100000" algn="tr" rotWithShape="0">
                  <a:prstClr val="black">
                    <a:alpha val="40000"/>
                  </a:prstClr>
                </a:outerShdw>
              </a:effectLst>
              <a:uLnTx/>
              <a:uFillTx/>
              <a:latin typeface="Helvetica" pitchFamily="2" charset="0"/>
              <a:ea typeface="+mn-ea"/>
              <a:cs typeface="+mn-cs"/>
            </a:endParaRPr>
          </a:p>
        </p:txBody>
      </p:sp>
      <p:sp>
        <p:nvSpPr>
          <p:cNvPr id="172" name="Rectangle 171">
            <a:extLst>
              <a:ext uri="{FF2B5EF4-FFF2-40B4-BE49-F238E27FC236}">
                <a16:creationId xmlns:a16="http://schemas.microsoft.com/office/drawing/2014/main" id="{BBE86876-6E03-45C8-A5EC-43CBF0FF2C35}"/>
              </a:ext>
            </a:extLst>
          </p:cNvPr>
          <p:cNvSpPr/>
          <p:nvPr/>
        </p:nvSpPr>
        <p:spPr>
          <a:xfrm>
            <a:off x="1024018" y="2721936"/>
            <a:ext cx="3268129" cy="620876"/>
          </a:xfrm>
          <a:prstGeom prst="rect">
            <a:avLst/>
          </a:prstGeom>
        </p:spPr>
        <p:txBody>
          <a:bodyPr wrap="square">
            <a:spAutoFit/>
          </a:bodyPr>
          <a:lstStyle/>
          <a:p>
            <a:pPr marL="0" marR="0" lvl="0" indent="0" algn="l" defTabSz="285750" rtl="0" eaLnBrk="1" fontAlgn="auto" latinLnBrk="0" hangingPunct="1">
              <a:lnSpc>
                <a:spcPct val="120000"/>
              </a:lnSpc>
              <a:spcBef>
                <a:spcPts val="0"/>
              </a:spcBef>
              <a:spcAft>
                <a:spcPts val="0"/>
              </a:spcAft>
              <a:buClrTx/>
              <a:buSzTx/>
              <a:buFontTx/>
              <a:buNone/>
              <a:tabLst/>
              <a:defRPr/>
            </a:pPr>
            <a:r>
              <a:rPr kumimoji="0" lang="en-US" sz="1500" b="1" i="0" u="none" strike="noStrike" kern="1200" cap="none" spc="0" normalizeH="0" baseline="0" noProof="0">
                <a:ln>
                  <a:noFill/>
                </a:ln>
                <a:solidFill>
                  <a:srgbClr val="D59DFF"/>
                </a:solidFill>
                <a:effectLst/>
                <a:uLnTx/>
                <a:uFillTx/>
                <a:latin typeface="Helvetica" pitchFamily="2" charset="0"/>
                <a:ea typeface="+mn-ea"/>
                <a:cs typeface="Segoe UI" panose="020B0502040204020203" pitchFamily="34" charset="0"/>
              </a:rPr>
              <a:t>MORE SECURE CODE, SHIPPED AT THE SAME SPEED</a:t>
            </a:r>
          </a:p>
        </p:txBody>
      </p:sp>
      <p:grpSp>
        <p:nvGrpSpPr>
          <p:cNvPr id="219" name="Group 218">
            <a:extLst>
              <a:ext uri="{FF2B5EF4-FFF2-40B4-BE49-F238E27FC236}">
                <a16:creationId xmlns:a16="http://schemas.microsoft.com/office/drawing/2014/main" id="{DD5ED6E7-009C-4988-BC46-8040367C1673}"/>
              </a:ext>
              <a:ext uri="{C183D7F6-B498-43B3-948B-1728B52AA6E4}">
                <adec:decorative xmlns:adec="http://schemas.microsoft.com/office/drawing/2017/decorative" val="1"/>
              </a:ext>
            </a:extLst>
          </p:cNvPr>
          <p:cNvGrpSpPr/>
          <p:nvPr/>
        </p:nvGrpSpPr>
        <p:grpSpPr>
          <a:xfrm>
            <a:off x="702774" y="3423917"/>
            <a:ext cx="5948365" cy="3157057"/>
            <a:chOff x="702774" y="3423917"/>
            <a:chExt cx="5948365" cy="3157057"/>
          </a:xfrm>
        </p:grpSpPr>
        <p:sp>
          <p:nvSpPr>
            <p:cNvPr id="220" name="Rectangle 219">
              <a:extLst>
                <a:ext uri="{FF2B5EF4-FFF2-40B4-BE49-F238E27FC236}">
                  <a16:creationId xmlns:a16="http://schemas.microsoft.com/office/drawing/2014/main" id="{17C3C944-ABA4-4CD7-B261-0DFBA56ED12B}"/>
                </a:ext>
                <a:ext uri="{C183D7F6-B498-43B3-948B-1728B52AA6E4}">
                  <adec:decorative xmlns:adec="http://schemas.microsoft.com/office/drawing/2017/decorative" val="1"/>
                </a:ext>
              </a:extLst>
            </p:cNvPr>
            <p:cNvSpPr/>
            <p:nvPr/>
          </p:nvSpPr>
          <p:spPr>
            <a:xfrm>
              <a:off x="702774" y="3423917"/>
              <a:ext cx="2690422" cy="120330"/>
            </a:xfrm>
            <a:prstGeom prst="rect">
              <a:avLst/>
            </a:prstGeom>
            <a:gradFill flip="none" rotWithShape="1">
              <a:gsLst>
                <a:gs pos="2000">
                  <a:srgbClr val="EC2B8C"/>
                </a:gs>
                <a:gs pos="99000">
                  <a:srgbClr val="9477E2"/>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Helvetica"/>
                <a:ea typeface="+mn-ea"/>
                <a:cs typeface="+mn-cs"/>
              </a:endParaRPr>
            </a:p>
          </p:txBody>
        </p:sp>
        <p:sp>
          <p:nvSpPr>
            <p:cNvPr id="221" name="Rectangle 220">
              <a:extLst>
                <a:ext uri="{FF2B5EF4-FFF2-40B4-BE49-F238E27FC236}">
                  <a16:creationId xmlns:a16="http://schemas.microsoft.com/office/drawing/2014/main" id="{31BFE7ED-0D90-4984-B702-24F8A70C66DE}"/>
                </a:ext>
                <a:ext uri="{C183D7F6-B498-43B3-948B-1728B52AA6E4}">
                  <adec:decorative xmlns:adec="http://schemas.microsoft.com/office/drawing/2017/decorative" val="1"/>
                </a:ext>
              </a:extLst>
            </p:cNvPr>
            <p:cNvSpPr/>
            <p:nvPr/>
          </p:nvSpPr>
          <p:spPr>
            <a:xfrm>
              <a:off x="3960717" y="3423917"/>
              <a:ext cx="2690422" cy="120330"/>
            </a:xfrm>
            <a:prstGeom prst="rect">
              <a:avLst/>
            </a:prstGeom>
            <a:gradFill flip="none" rotWithShape="1">
              <a:gsLst>
                <a:gs pos="0">
                  <a:schemeClr val="accent2"/>
                </a:gs>
                <a:gs pos="100000">
                  <a:srgbClr val="5C30D3"/>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Helvetica"/>
                <a:ea typeface="+mn-ea"/>
                <a:cs typeface="+mn-cs"/>
              </a:endParaRPr>
            </a:p>
          </p:txBody>
        </p:sp>
        <p:cxnSp>
          <p:nvCxnSpPr>
            <p:cNvPr id="222" name="Straight Connector 221">
              <a:extLst>
                <a:ext uri="{FF2B5EF4-FFF2-40B4-BE49-F238E27FC236}">
                  <a16:creationId xmlns:a16="http://schemas.microsoft.com/office/drawing/2014/main" id="{2748B1DB-EBB5-4952-966B-48CEC88A2DFE}"/>
                </a:ext>
                <a:ext uri="{C183D7F6-B498-43B3-948B-1728B52AA6E4}">
                  <adec:decorative xmlns:adec="http://schemas.microsoft.com/office/drawing/2017/decorative" val="1"/>
                </a:ext>
              </a:extLst>
            </p:cNvPr>
            <p:cNvCxnSpPr>
              <a:cxnSpLocks/>
            </p:cNvCxnSpPr>
            <p:nvPr/>
          </p:nvCxnSpPr>
          <p:spPr>
            <a:xfrm>
              <a:off x="3691039" y="3423917"/>
              <a:ext cx="0" cy="3157057"/>
            </a:xfrm>
            <a:prstGeom prst="line">
              <a:avLst/>
            </a:prstGeom>
            <a:ln w="15875">
              <a:solidFill>
                <a:schemeClr val="accent3">
                  <a:alpha val="25000"/>
                </a:schemeClr>
              </a:solidFill>
            </a:ln>
          </p:spPr>
          <p:style>
            <a:lnRef idx="1">
              <a:schemeClr val="accent1"/>
            </a:lnRef>
            <a:fillRef idx="0">
              <a:schemeClr val="accent1"/>
            </a:fillRef>
            <a:effectRef idx="0">
              <a:schemeClr val="accent1"/>
            </a:effectRef>
            <a:fontRef idx="minor">
              <a:schemeClr val="tx1"/>
            </a:fontRef>
          </p:style>
        </p:cxnSp>
      </p:grpSp>
      <p:sp>
        <p:nvSpPr>
          <p:cNvPr id="243" name="TextBox 242">
            <a:extLst>
              <a:ext uri="{FF2B5EF4-FFF2-40B4-BE49-F238E27FC236}">
                <a16:creationId xmlns:a16="http://schemas.microsoft.com/office/drawing/2014/main" id="{E6FEED2B-381B-4A04-A478-718745703807}"/>
              </a:ext>
            </a:extLst>
          </p:cNvPr>
          <p:cNvSpPr txBox="1"/>
          <p:nvPr/>
        </p:nvSpPr>
        <p:spPr>
          <a:xfrm>
            <a:off x="612069" y="3833340"/>
            <a:ext cx="29882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a:ea typeface="+mn-ea"/>
                <a:cs typeface="Segoe UI Semibold" panose="020B0502040204020203" pitchFamily="34" charset="0"/>
              </a:rPr>
              <a:t>DevOps Definition (Development + Operations)</a:t>
            </a:r>
          </a:p>
        </p:txBody>
      </p:sp>
      <p:sp>
        <p:nvSpPr>
          <p:cNvPr id="265" name="Rectangle 264">
            <a:extLst>
              <a:ext uri="{FF2B5EF4-FFF2-40B4-BE49-F238E27FC236}">
                <a16:creationId xmlns:a16="http://schemas.microsoft.com/office/drawing/2014/main" id="{A1557C1B-062D-4909-80FC-8103AE0FCB4D}"/>
              </a:ext>
            </a:extLst>
          </p:cNvPr>
          <p:cNvSpPr/>
          <p:nvPr/>
        </p:nvSpPr>
        <p:spPr>
          <a:xfrm>
            <a:off x="616659" y="4482869"/>
            <a:ext cx="2681244" cy="110267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FE8F6"/>
                </a:solidFill>
                <a:effectLst/>
                <a:uLnTx/>
                <a:uFillTx/>
                <a:latin typeface="Helvetica"/>
                <a:ea typeface="+mn-ea"/>
                <a:cs typeface="Segoe UI" panose="020B0502040204020203" pitchFamily="34" charset="0"/>
              </a:rPr>
              <a:t>DevOps is the union of </a:t>
            </a:r>
            <a:r>
              <a:rPr kumimoji="0" lang="en-US" sz="1400" b="0" i="0" u="none" strike="noStrike" kern="1200" cap="none" spc="0" normalizeH="0" baseline="0" noProof="0">
                <a:ln>
                  <a:noFill/>
                </a:ln>
                <a:solidFill>
                  <a:srgbClr val="BFE8F6"/>
                </a:solidFill>
                <a:effectLst/>
                <a:uLnTx/>
                <a:uFillTx/>
                <a:latin typeface="Helvetica"/>
                <a:ea typeface="Segoe UI" charset="0"/>
                <a:cs typeface="Segoe UI" panose="020B0502040204020203" pitchFamily="34" charset="0"/>
              </a:rPr>
              <a:t>people, processes, and technology </a:t>
            </a:r>
            <a:r>
              <a:rPr kumimoji="0" lang="en-US" sz="1400" b="0" i="0" u="none" strike="noStrike" kern="1200" cap="none" spc="0" normalizeH="0" baseline="0" noProof="0">
                <a:ln>
                  <a:noFill/>
                </a:ln>
                <a:solidFill>
                  <a:srgbClr val="BFE8F6"/>
                </a:solidFill>
                <a:effectLst/>
                <a:uLnTx/>
                <a:uFillTx/>
                <a:latin typeface="Helvetica"/>
                <a:ea typeface="+mn-ea"/>
                <a:cs typeface="Segoe UI" panose="020B0502040204020203" pitchFamily="34" charset="0"/>
              </a:rPr>
              <a:t>to deliver continuous value to users.</a:t>
            </a:r>
          </a:p>
        </p:txBody>
      </p:sp>
      <p:sp>
        <p:nvSpPr>
          <p:cNvPr id="286" name="TextBox 285">
            <a:extLst>
              <a:ext uri="{FF2B5EF4-FFF2-40B4-BE49-F238E27FC236}">
                <a16:creationId xmlns:a16="http://schemas.microsoft.com/office/drawing/2014/main" id="{E529870C-0741-4385-9649-F9D33AA8CC16}"/>
              </a:ext>
            </a:extLst>
          </p:cNvPr>
          <p:cNvSpPr txBox="1"/>
          <p:nvPr/>
        </p:nvSpPr>
        <p:spPr>
          <a:xfrm>
            <a:off x="3878161" y="3833340"/>
            <a:ext cx="38743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a:ea typeface="+mn-ea"/>
                <a:cs typeface="Segoe UI Semibold" panose="020B0502040204020203" pitchFamily="34" charset="0"/>
              </a:rPr>
              <a:t>DevSecOps Definition </a:t>
            </a:r>
            <a:br>
              <a:rPr kumimoji="0" lang="en-US" sz="1400" b="1" i="0" u="none" strike="noStrike" kern="1200" cap="none" spc="0" normalizeH="0" baseline="0" noProof="0">
                <a:ln>
                  <a:noFill/>
                </a:ln>
                <a:solidFill>
                  <a:prstClr val="white"/>
                </a:solidFill>
                <a:effectLst/>
                <a:uLnTx/>
                <a:uFillTx/>
                <a:latin typeface="Helvetica"/>
                <a:ea typeface="+mn-ea"/>
                <a:cs typeface="Segoe UI Semibold" panose="020B0502040204020203" pitchFamily="34" charset="0"/>
              </a:rPr>
            </a:br>
            <a:r>
              <a:rPr kumimoji="0" lang="en-US" sz="1400" b="1" i="0" u="none" strike="noStrike" kern="1200" cap="none" spc="0" normalizeH="0" baseline="0" noProof="0">
                <a:ln>
                  <a:noFill/>
                </a:ln>
                <a:solidFill>
                  <a:prstClr val="white"/>
                </a:solidFill>
                <a:effectLst/>
                <a:uLnTx/>
                <a:uFillTx/>
                <a:latin typeface="Helvetica"/>
                <a:ea typeface="+mn-ea"/>
                <a:cs typeface="Segoe UI Semibold" panose="020B0502040204020203" pitchFamily="34" charset="0"/>
              </a:rPr>
              <a:t>(Development + Security + Operations)</a:t>
            </a:r>
          </a:p>
        </p:txBody>
      </p:sp>
      <p:sp>
        <p:nvSpPr>
          <p:cNvPr id="306" name="Rectangle 305">
            <a:extLst>
              <a:ext uri="{FF2B5EF4-FFF2-40B4-BE49-F238E27FC236}">
                <a16:creationId xmlns:a16="http://schemas.microsoft.com/office/drawing/2014/main" id="{07412209-B0E2-449E-B241-DB3DB8C19B60}"/>
              </a:ext>
            </a:extLst>
          </p:cNvPr>
          <p:cNvSpPr/>
          <p:nvPr/>
        </p:nvSpPr>
        <p:spPr>
          <a:xfrm>
            <a:off x="3882751" y="4482869"/>
            <a:ext cx="3380635" cy="187827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BFE8F6"/>
                </a:solidFill>
                <a:effectLst/>
                <a:uLnTx/>
                <a:uFillTx/>
                <a:latin typeface="Helvetica" pitchFamily="2" charset="0"/>
                <a:ea typeface="+mn-ea"/>
                <a:cs typeface="Segoe UI" panose="020B0502040204020203" pitchFamily="34" charset="0"/>
              </a:rPr>
              <a:t>DevSecOps</a:t>
            </a:r>
            <a:r>
              <a:rPr kumimoji="0" lang="en-US" sz="1400" b="0" i="0" u="none" strike="noStrike" kern="1200" cap="none" spc="0" normalizeH="0" baseline="0" noProof="0" dirty="0">
                <a:ln>
                  <a:noFill/>
                </a:ln>
                <a:solidFill>
                  <a:srgbClr val="BFE8F6"/>
                </a:solidFill>
                <a:effectLst/>
                <a:uLnTx/>
                <a:uFillTx/>
                <a:latin typeface="Helvetica" pitchFamily="2" charset="0"/>
                <a:ea typeface="+mn-ea"/>
                <a:cs typeface="Segoe UI" panose="020B0502040204020203" pitchFamily="34" charset="0"/>
              </a:rPr>
              <a:t> is an evolution in the way development organizations approach security by introducing a security-first mindset culture and automating security into every phase of the software development lifecycle from design to delivery.</a:t>
            </a:r>
          </a:p>
        </p:txBody>
      </p:sp>
      <p:grpSp>
        <p:nvGrpSpPr>
          <p:cNvPr id="310" name="Group 309">
            <a:extLst>
              <a:ext uri="{FF2B5EF4-FFF2-40B4-BE49-F238E27FC236}">
                <a16:creationId xmlns:a16="http://schemas.microsoft.com/office/drawing/2014/main" id="{93A6E422-8812-4C9E-A227-A09F179EF57C}"/>
              </a:ext>
              <a:ext uri="{C183D7F6-B498-43B3-948B-1728B52AA6E4}">
                <adec:decorative xmlns:adec="http://schemas.microsoft.com/office/drawing/2017/decorative" val="1"/>
              </a:ext>
            </a:extLst>
          </p:cNvPr>
          <p:cNvGrpSpPr/>
          <p:nvPr/>
        </p:nvGrpSpPr>
        <p:grpSpPr>
          <a:xfrm>
            <a:off x="7431701" y="954415"/>
            <a:ext cx="4382749" cy="1480263"/>
            <a:chOff x="7431701" y="954415"/>
            <a:chExt cx="4382749" cy="1480263"/>
          </a:xfrm>
        </p:grpSpPr>
        <p:sp>
          <p:nvSpPr>
            <p:cNvPr id="311" name="Rectangle: Rounded Corners 6">
              <a:extLst>
                <a:ext uri="{FF2B5EF4-FFF2-40B4-BE49-F238E27FC236}">
                  <a16:creationId xmlns:a16="http://schemas.microsoft.com/office/drawing/2014/main" id="{4709E4E4-5FFC-4744-9588-3FD62AE7D63A}"/>
                </a:ext>
                <a:ext uri="{C183D7F6-B498-43B3-948B-1728B52AA6E4}">
                  <adec:decorative xmlns:adec="http://schemas.microsoft.com/office/drawing/2017/decorative" val="1"/>
                </a:ext>
              </a:extLst>
            </p:cNvPr>
            <p:cNvSpPr/>
            <p:nvPr/>
          </p:nvSpPr>
          <p:spPr>
            <a:xfrm>
              <a:off x="7911485" y="954415"/>
              <a:ext cx="3902965" cy="1480263"/>
            </a:xfrm>
            <a:prstGeom prst="roundRect">
              <a:avLst>
                <a:gd name="adj" fmla="val 3188"/>
              </a:avLst>
            </a:prstGeom>
            <a:gradFill>
              <a:gsLst>
                <a:gs pos="0">
                  <a:srgbClr val="1F9CF0"/>
                </a:gs>
                <a:gs pos="100000">
                  <a:srgbClr val="1F9CF0">
                    <a:alpha val="0"/>
                  </a:srgbClr>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798" b="0" i="0" u="none" strike="noStrike" kern="1200" cap="none" spc="0" normalizeH="0" baseline="0" noProof="0">
                <a:ln>
                  <a:noFill/>
                </a:ln>
                <a:solidFill>
                  <a:prstClr val="white"/>
                </a:solidFill>
                <a:effectLst/>
                <a:uLnTx/>
                <a:uFillTx/>
                <a:latin typeface="Helvetica"/>
                <a:ea typeface="+mn-ea"/>
                <a:cs typeface="+mn-cs"/>
              </a:endParaRPr>
            </a:p>
          </p:txBody>
        </p:sp>
        <p:sp>
          <p:nvSpPr>
            <p:cNvPr id="312" name="Oval 311">
              <a:extLst>
                <a:ext uri="{FF2B5EF4-FFF2-40B4-BE49-F238E27FC236}">
                  <a16:creationId xmlns:a16="http://schemas.microsoft.com/office/drawing/2014/main" id="{0B6F8208-3C0D-4D67-B226-7A22A3CAFCB0}"/>
                </a:ext>
                <a:ext uri="{C183D7F6-B498-43B3-948B-1728B52AA6E4}">
                  <adec:decorative xmlns:adec="http://schemas.microsoft.com/office/drawing/2017/decorative" val="1"/>
                </a:ext>
              </a:extLst>
            </p:cNvPr>
            <p:cNvSpPr/>
            <p:nvPr/>
          </p:nvSpPr>
          <p:spPr>
            <a:xfrm>
              <a:off x="7431701" y="1225442"/>
              <a:ext cx="959569" cy="959093"/>
            </a:xfrm>
            <a:prstGeom prst="ellipse">
              <a:avLst/>
            </a:prstGeom>
            <a:solidFill>
              <a:srgbClr val="1F9CF0">
                <a:alpha val="57000"/>
              </a:srgbClr>
            </a:solidFill>
            <a:ln>
              <a:noFill/>
            </a:ln>
            <a:effectLst>
              <a:outerShdw blurRad="889000" dir="5400000" sx="89000" sy="89000" algn="ctr" rotWithShape="0">
                <a:srgbClr val="000000">
                  <a:alpha val="4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13" name="Oval 312">
              <a:extLst>
                <a:ext uri="{FF2B5EF4-FFF2-40B4-BE49-F238E27FC236}">
                  <a16:creationId xmlns:a16="http://schemas.microsoft.com/office/drawing/2014/main" id="{06A0CC0C-00F0-4C6F-BA62-C59685B4ED21}"/>
                </a:ext>
                <a:ext uri="{C183D7F6-B498-43B3-948B-1728B52AA6E4}">
                  <adec:decorative xmlns:adec="http://schemas.microsoft.com/office/drawing/2017/decorative" val="1"/>
                </a:ext>
              </a:extLst>
            </p:cNvPr>
            <p:cNvSpPr/>
            <p:nvPr/>
          </p:nvSpPr>
          <p:spPr>
            <a:xfrm>
              <a:off x="7593904" y="1388819"/>
              <a:ext cx="635958" cy="635643"/>
            </a:xfrm>
            <a:prstGeom prst="ellipse">
              <a:avLst/>
            </a:prstGeom>
            <a:solidFill>
              <a:srgbClr val="1F9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pic>
        <p:nvPicPr>
          <p:cNvPr id="328" name="Picture 327" descr="Icon of two line arrows encircling a system">
            <a:extLst>
              <a:ext uri="{FF2B5EF4-FFF2-40B4-BE49-F238E27FC236}">
                <a16:creationId xmlns:a16="http://schemas.microsoft.com/office/drawing/2014/main" id="{BAAB1FAF-BB84-4E33-B67C-08342D431724}"/>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7714158" y="1519173"/>
            <a:ext cx="394335" cy="394335"/>
          </a:xfrm>
          <a:prstGeom prst="rect">
            <a:avLst/>
          </a:prstGeom>
        </p:spPr>
      </p:pic>
      <p:sp>
        <p:nvSpPr>
          <p:cNvPr id="341" name="TextBox 340">
            <a:extLst>
              <a:ext uri="{FF2B5EF4-FFF2-40B4-BE49-F238E27FC236}">
                <a16:creationId xmlns:a16="http://schemas.microsoft.com/office/drawing/2014/main" id="{D88E63C4-CEEC-4F8A-AC75-81EEC4C38749}"/>
              </a:ext>
            </a:extLst>
          </p:cNvPr>
          <p:cNvSpPr txBox="1"/>
          <p:nvPr/>
        </p:nvSpPr>
        <p:spPr>
          <a:xfrm>
            <a:off x="8447242" y="1417547"/>
            <a:ext cx="3041983" cy="553998"/>
          </a:xfrm>
          <a:prstGeom prst="rect">
            <a:avLst/>
          </a:prstGeom>
          <a:noFill/>
        </p:spPr>
        <p:txBody>
          <a:bodyPr wrap="square" rtlCol="0">
            <a:sp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Reduce remediation time by shifting security left</a:t>
            </a:r>
          </a:p>
        </p:txBody>
      </p:sp>
      <p:grpSp>
        <p:nvGrpSpPr>
          <p:cNvPr id="366" name="Group 365">
            <a:extLst>
              <a:ext uri="{FF2B5EF4-FFF2-40B4-BE49-F238E27FC236}">
                <a16:creationId xmlns:a16="http://schemas.microsoft.com/office/drawing/2014/main" id="{874F6563-F289-4F78-BDC1-A3E191809B47}"/>
              </a:ext>
              <a:ext uri="{C183D7F6-B498-43B3-948B-1728B52AA6E4}">
                <adec:decorative xmlns:adec="http://schemas.microsoft.com/office/drawing/2017/decorative" val="1"/>
              </a:ext>
            </a:extLst>
          </p:cNvPr>
          <p:cNvGrpSpPr/>
          <p:nvPr/>
        </p:nvGrpSpPr>
        <p:grpSpPr>
          <a:xfrm>
            <a:off x="7431541" y="2515657"/>
            <a:ext cx="4382749" cy="1480263"/>
            <a:chOff x="7431541" y="2515657"/>
            <a:chExt cx="4382749" cy="1480263"/>
          </a:xfrm>
        </p:grpSpPr>
        <p:sp>
          <p:nvSpPr>
            <p:cNvPr id="367" name="Rectangle: Rounded Corners 6">
              <a:extLst>
                <a:ext uri="{FF2B5EF4-FFF2-40B4-BE49-F238E27FC236}">
                  <a16:creationId xmlns:a16="http://schemas.microsoft.com/office/drawing/2014/main" id="{3F00C3D2-EEAC-44CF-8E42-B5D37A30F9F4}"/>
                </a:ext>
                <a:ext uri="{C183D7F6-B498-43B3-948B-1728B52AA6E4}">
                  <adec:decorative xmlns:adec="http://schemas.microsoft.com/office/drawing/2017/decorative" val="1"/>
                </a:ext>
              </a:extLst>
            </p:cNvPr>
            <p:cNvSpPr/>
            <p:nvPr/>
          </p:nvSpPr>
          <p:spPr>
            <a:xfrm>
              <a:off x="7911325" y="2515657"/>
              <a:ext cx="3902965" cy="1480263"/>
            </a:xfrm>
            <a:prstGeom prst="roundRect">
              <a:avLst>
                <a:gd name="adj" fmla="val 3188"/>
              </a:avLst>
            </a:prstGeom>
            <a:gradFill>
              <a:gsLst>
                <a:gs pos="0">
                  <a:schemeClr val="accent3">
                    <a:alpha val="79000"/>
                  </a:schemeClr>
                </a:gs>
                <a:gs pos="100000">
                  <a:schemeClr val="accent3">
                    <a:alpha val="0"/>
                  </a:schemeClr>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798" b="0" i="0" u="none" strike="noStrike" kern="1200" cap="none" spc="0" normalizeH="0" baseline="0" noProof="0">
                <a:ln>
                  <a:noFill/>
                </a:ln>
                <a:solidFill>
                  <a:prstClr val="white"/>
                </a:solidFill>
                <a:effectLst/>
                <a:uLnTx/>
                <a:uFillTx/>
                <a:latin typeface="Helvetica"/>
                <a:ea typeface="+mn-ea"/>
                <a:cs typeface="+mn-cs"/>
              </a:endParaRPr>
            </a:p>
          </p:txBody>
        </p:sp>
        <p:sp>
          <p:nvSpPr>
            <p:cNvPr id="368" name="Oval 367">
              <a:extLst>
                <a:ext uri="{FF2B5EF4-FFF2-40B4-BE49-F238E27FC236}">
                  <a16:creationId xmlns:a16="http://schemas.microsoft.com/office/drawing/2014/main" id="{B3A7ECA7-9BAD-4662-9443-F4E4618FC55C}"/>
                </a:ext>
                <a:ext uri="{C183D7F6-B498-43B3-948B-1728B52AA6E4}">
                  <adec:decorative xmlns:adec="http://schemas.microsoft.com/office/drawing/2017/decorative" val="1"/>
                </a:ext>
              </a:extLst>
            </p:cNvPr>
            <p:cNvSpPr/>
            <p:nvPr/>
          </p:nvSpPr>
          <p:spPr>
            <a:xfrm>
              <a:off x="7431541" y="2735360"/>
              <a:ext cx="959569" cy="959093"/>
            </a:xfrm>
            <a:prstGeom prst="ellipse">
              <a:avLst/>
            </a:prstGeom>
            <a:solidFill>
              <a:schemeClr val="accent3">
                <a:alpha val="57000"/>
              </a:schemeClr>
            </a:solidFill>
            <a:ln>
              <a:noFill/>
            </a:ln>
            <a:effectLst>
              <a:outerShdw blurRad="889000" dir="5400000" sx="89000" sy="89000" algn="ctr" rotWithShape="0">
                <a:srgbClr val="000000">
                  <a:alpha val="70059"/>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69" name="Oval 368">
              <a:extLst>
                <a:ext uri="{FF2B5EF4-FFF2-40B4-BE49-F238E27FC236}">
                  <a16:creationId xmlns:a16="http://schemas.microsoft.com/office/drawing/2014/main" id="{6BDEA5FD-D9C2-4FAE-8B76-59BF720916CF}"/>
                </a:ext>
                <a:ext uri="{C183D7F6-B498-43B3-948B-1728B52AA6E4}">
                  <adec:decorative xmlns:adec="http://schemas.microsoft.com/office/drawing/2017/decorative" val="1"/>
                </a:ext>
              </a:extLst>
            </p:cNvPr>
            <p:cNvSpPr/>
            <p:nvPr/>
          </p:nvSpPr>
          <p:spPr>
            <a:xfrm>
              <a:off x="7593664" y="2898737"/>
              <a:ext cx="635958" cy="6356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pic>
        <p:nvPicPr>
          <p:cNvPr id="378" name="Picture 377" descr="Icon of a list with a padded lock">
            <a:extLst>
              <a:ext uri="{FF2B5EF4-FFF2-40B4-BE49-F238E27FC236}">
                <a16:creationId xmlns:a16="http://schemas.microsoft.com/office/drawing/2014/main" id="{B1D9805C-DAAC-41C0-A2A1-C15B4979CCE0}"/>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7748581" y="3042917"/>
            <a:ext cx="381000" cy="381000"/>
          </a:xfrm>
          <a:prstGeom prst="rect">
            <a:avLst/>
          </a:prstGeom>
        </p:spPr>
      </p:pic>
      <p:sp>
        <p:nvSpPr>
          <p:cNvPr id="384" name="TextBox 383">
            <a:extLst>
              <a:ext uri="{FF2B5EF4-FFF2-40B4-BE49-F238E27FC236}">
                <a16:creationId xmlns:a16="http://schemas.microsoft.com/office/drawing/2014/main" id="{78E81520-C0D6-494C-9439-31ABB61BEB2C}"/>
              </a:ext>
            </a:extLst>
          </p:cNvPr>
          <p:cNvSpPr txBox="1"/>
          <p:nvPr/>
        </p:nvSpPr>
        <p:spPr>
          <a:xfrm>
            <a:off x="8447243" y="2978789"/>
            <a:ext cx="3041983" cy="553998"/>
          </a:xfrm>
          <a:prstGeom prst="rect">
            <a:avLst/>
          </a:prstGeom>
          <a:noFill/>
        </p:spPr>
        <p:txBody>
          <a:bodyPr wrap="square" rtlCol="0">
            <a:sp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Integrate with and secure your </a:t>
            </a:r>
            <a:br>
              <a:rPr kumimoji="0" lang="en-US" sz="1500" b="1" i="0" u="none" strike="noStrike" kern="1200" cap="none" spc="0" normalizeH="0" baseline="0" noProof="0" dirty="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br>
            <a:r>
              <a:rPr kumimoji="0" lang="en-US" sz="1500" b="1" i="0" u="none" strike="noStrike" kern="1200" cap="none" spc="0" normalizeH="0" baseline="0" noProof="0" dirty="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existing toolchains</a:t>
            </a:r>
          </a:p>
        </p:txBody>
      </p:sp>
      <p:grpSp>
        <p:nvGrpSpPr>
          <p:cNvPr id="392" name="Group 391">
            <a:extLst>
              <a:ext uri="{FF2B5EF4-FFF2-40B4-BE49-F238E27FC236}">
                <a16:creationId xmlns:a16="http://schemas.microsoft.com/office/drawing/2014/main" id="{6219EF1D-9D96-4BF9-8DDA-267157FC347C}"/>
              </a:ext>
              <a:ext uri="{C183D7F6-B498-43B3-948B-1728B52AA6E4}">
                <adec:decorative xmlns:adec="http://schemas.microsoft.com/office/drawing/2017/decorative" val="1"/>
              </a:ext>
            </a:extLst>
          </p:cNvPr>
          <p:cNvGrpSpPr/>
          <p:nvPr/>
        </p:nvGrpSpPr>
        <p:grpSpPr>
          <a:xfrm>
            <a:off x="7431541" y="4076900"/>
            <a:ext cx="4382749" cy="1480263"/>
            <a:chOff x="7431541" y="4076900"/>
            <a:chExt cx="4382749" cy="1480263"/>
          </a:xfrm>
        </p:grpSpPr>
        <p:sp>
          <p:nvSpPr>
            <p:cNvPr id="393" name="Rectangle: Rounded Corners 6">
              <a:extLst>
                <a:ext uri="{FF2B5EF4-FFF2-40B4-BE49-F238E27FC236}">
                  <a16:creationId xmlns:a16="http://schemas.microsoft.com/office/drawing/2014/main" id="{FD16C410-1F8A-4229-9251-3BC138B70680}"/>
                </a:ext>
                <a:ext uri="{C183D7F6-B498-43B3-948B-1728B52AA6E4}">
                  <adec:decorative xmlns:adec="http://schemas.microsoft.com/office/drawing/2017/decorative" val="1"/>
                </a:ext>
              </a:extLst>
            </p:cNvPr>
            <p:cNvSpPr/>
            <p:nvPr/>
          </p:nvSpPr>
          <p:spPr>
            <a:xfrm>
              <a:off x="7911325" y="4076900"/>
              <a:ext cx="3902965" cy="1480263"/>
            </a:xfrm>
            <a:prstGeom prst="roundRect">
              <a:avLst>
                <a:gd name="adj" fmla="val 3188"/>
              </a:avLst>
            </a:prstGeom>
            <a:gradFill>
              <a:gsLst>
                <a:gs pos="0">
                  <a:schemeClr val="accent2"/>
                </a:gs>
                <a:gs pos="100000">
                  <a:schemeClr val="accent2">
                    <a:alpha val="0"/>
                  </a:schemeClr>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id-ID" sz="1798" b="0" i="0" u="none" strike="noStrike" kern="1200" cap="none" spc="0" normalizeH="0" baseline="0" noProof="0">
                <a:ln>
                  <a:noFill/>
                </a:ln>
                <a:solidFill>
                  <a:prstClr val="white"/>
                </a:solidFill>
                <a:effectLst/>
                <a:uLnTx/>
                <a:uFillTx/>
                <a:latin typeface="Helvetica"/>
                <a:ea typeface="+mn-ea"/>
                <a:cs typeface="+mn-cs"/>
              </a:endParaRPr>
            </a:p>
          </p:txBody>
        </p:sp>
        <p:sp>
          <p:nvSpPr>
            <p:cNvPr id="394" name="Oval 393">
              <a:extLst>
                <a:ext uri="{FF2B5EF4-FFF2-40B4-BE49-F238E27FC236}">
                  <a16:creationId xmlns:a16="http://schemas.microsoft.com/office/drawing/2014/main" id="{DD2091DB-F505-4396-B1D7-7F055F9A5C3B}"/>
                </a:ext>
                <a:ext uri="{C183D7F6-B498-43B3-948B-1728B52AA6E4}">
                  <adec:decorative xmlns:adec="http://schemas.microsoft.com/office/drawing/2017/decorative" val="1"/>
                </a:ext>
              </a:extLst>
            </p:cNvPr>
            <p:cNvSpPr/>
            <p:nvPr/>
          </p:nvSpPr>
          <p:spPr>
            <a:xfrm>
              <a:off x="7431541" y="4296603"/>
              <a:ext cx="959569" cy="959093"/>
            </a:xfrm>
            <a:prstGeom prst="ellipse">
              <a:avLst/>
            </a:prstGeom>
            <a:solidFill>
              <a:schemeClr val="accent2">
                <a:alpha val="57000"/>
              </a:schemeClr>
            </a:solidFill>
            <a:ln>
              <a:noFill/>
            </a:ln>
            <a:effectLst>
              <a:outerShdw blurRad="889000" dir="5400000" sx="89000" sy="89000" algn="ctr" rotWithShape="0">
                <a:srgbClr val="000000">
                  <a:alpha val="7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sp>
          <p:nvSpPr>
            <p:cNvPr id="395" name="Oval 394">
              <a:extLst>
                <a:ext uri="{FF2B5EF4-FFF2-40B4-BE49-F238E27FC236}">
                  <a16:creationId xmlns:a16="http://schemas.microsoft.com/office/drawing/2014/main" id="{B69B68F6-512B-48FE-BB63-81C8BFA595EE}"/>
                </a:ext>
                <a:ext uri="{C183D7F6-B498-43B3-948B-1728B52AA6E4}">
                  <adec:decorative xmlns:adec="http://schemas.microsoft.com/office/drawing/2017/decorative" val="1"/>
                </a:ext>
              </a:extLst>
            </p:cNvPr>
            <p:cNvSpPr/>
            <p:nvPr/>
          </p:nvSpPr>
          <p:spPr>
            <a:xfrm>
              <a:off x="7593664" y="4459980"/>
              <a:ext cx="635958" cy="635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prstClr val="white"/>
                </a:solidFill>
                <a:effectLst/>
                <a:uLnTx/>
                <a:uFillTx/>
                <a:latin typeface="Helvetica"/>
                <a:ea typeface="+mn-ea"/>
                <a:cs typeface="+mn-cs"/>
              </a:endParaRPr>
            </a:p>
          </p:txBody>
        </p:sp>
      </p:grpSp>
      <p:pic>
        <p:nvPicPr>
          <p:cNvPr id="398" name="Picture 397" descr="Icon of a padded lock with a search button">
            <a:extLst>
              <a:ext uri="{FF2B5EF4-FFF2-40B4-BE49-F238E27FC236}">
                <a16:creationId xmlns:a16="http://schemas.microsoft.com/office/drawing/2014/main" id="{8A962442-223D-4056-B914-4C1C1EFE229F}"/>
              </a:ext>
              <a:ext uri="{C183D7F6-B498-43B3-948B-1728B52AA6E4}">
                <adec:decorative xmlns:adec="http://schemas.microsoft.com/office/drawing/2017/decorative" val="0"/>
              </a:ext>
            </a:extLst>
          </p:cNvPr>
          <p:cNvPicPr>
            <a:picLocks noChangeAspect="1"/>
          </p:cNvPicPr>
          <p:nvPr/>
        </p:nvPicPr>
        <p:blipFill>
          <a:blip r:embed="rId7"/>
          <a:stretch>
            <a:fillRect/>
          </a:stretch>
        </p:blipFill>
        <p:spPr>
          <a:xfrm>
            <a:off x="7740476" y="4546746"/>
            <a:ext cx="330915" cy="461540"/>
          </a:xfrm>
          <a:prstGeom prst="rect">
            <a:avLst/>
          </a:prstGeom>
        </p:spPr>
      </p:pic>
      <p:sp>
        <p:nvSpPr>
          <p:cNvPr id="399" name="TextBox 398">
            <a:extLst>
              <a:ext uri="{FF2B5EF4-FFF2-40B4-BE49-F238E27FC236}">
                <a16:creationId xmlns:a16="http://schemas.microsoft.com/office/drawing/2014/main" id="{FAF4510C-FA3F-4BBF-B2D6-D5D9EA44B01F}"/>
              </a:ext>
            </a:extLst>
          </p:cNvPr>
          <p:cNvSpPr txBox="1"/>
          <p:nvPr/>
        </p:nvSpPr>
        <p:spPr>
          <a:xfrm>
            <a:off x="8447162" y="4540032"/>
            <a:ext cx="3041983" cy="553998"/>
          </a:xfrm>
          <a:prstGeom prst="rect">
            <a:avLst/>
          </a:prstGeom>
          <a:noFill/>
        </p:spPr>
        <p:txBody>
          <a:bodyPr wrap="square" rtlCol="0">
            <a:spAutoFit/>
          </a:bodyPr>
          <a:lstStyle/>
          <a:p>
            <a:pPr marL="0" marR="0" lvl="0" indent="0" algn="l" defTabSz="28575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rPr>
              <a:t>Quickly identify new threat vectors</a:t>
            </a:r>
            <a:endParaRPr kumimoji="0" lang="id-ID" sz="1500" b="1" i="0" u="none" strike="noStrike" kern="1200" cap="none" spc="0" normalizeH="0" baseline="0" noProof="0">
              <a:ln>
                <a:noFill/>
              </a:ln>
              <a:solidFill>
                <a:prstClr val="white"/>
              </a:solidFill>
              <a:effectLst/>
              <a:uLnTx/>
              <a:uFillTx/>
              <a:latin typeface="Helvetica" pitchFamily="2" charset="0"/>
              <a:ea typeface="Roboto Medium" panose="02000000000000000000" pitchFamily="2" charset="0"/>
              <a:cs typeface="Segoe UI" panose="020B0502040204020203" pitchFamily="34" charset="0"/>
            </a:endParaRPr>
          </a:p>
        </p:txBody>
      </p:sp>
    </p:spTree>
    <p:custDataLst>
      <p:tags r:id="rId1"/>
    </p:custDataLst>
    <p:extLst>
      <p:ext uri="{BB962C8B-B14F-4D97-AF65-F5344CB8AC3E}">
        <p14:creationId xmlns:p14="http://schemas.microsoft.com/office/powerpoint/2010/main" val="400772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DESIGN_ID_TEST" val="NpKiVEzG"/>
  <p:tag name="ARTICULATE_SLIDE_COUNT" val="52"/>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3.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4.xml><?xml version="1.0" encoding="utf-8"?>
<a:theme xmlns:a="http://schemas.openxmlformats.org/drawingml/2006/main" name="3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5.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6.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8.xml><?xml version="1.0" encoding="utf-8"?>
<a:theme xmlns:a="http://schemas.openxmlformats.org/drawingml/2006/main" name="2_Office Theme">
  <a:themeElements>
    <a:clrScheme name="GitHub">
      <a:dk1>
        <a:srgbClr val="000000"/>
      </a:dk1>
      <a:lt1>
        <a:srgbClr val="FFFFFF"/>
      </a:lt1>
      <a:dk2>
        <a:srgbClr val="2D3847"/>
      </a:dk2>
      <a:lt2>
        <a:srgbClr val="E7E6E6"/>
      </a:lt2>
      <a:accent1>
        <a:srgbClr val="D59DFF"/>
      </a:accent1>
      <a:accent2>
        <a:srgbClr val="BFE8F6"/>
      </a:accent2>
      <a:accent3>
        <a:srgbClr val="6A37C7"/>
      </a:accent3>
      <a:accent4>
        <a:srgbClr val="19C8EB"/>
      </a:accent4>
      <a:accent5>
        <a:srgbClr val="892293"/>
      </a:accent5>
      <a:accent6>
        <a:srgbClr val="CB0FB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mg2">
      <a:dk1>
        <a:srgbClr val="000000"/>
      </a:dk1>
      <a:lt1>
        <a:srgbClr val="FFFFFF"/>
      </a:lt1>
      <a:dk2>
        <a:srgbClr val="2D3847"/>
      </a:dk2>
      <a:lt2>
        <a:srgbClr val="E7E6E6"/>
      </a:lt2>
      <a:accent1>
        <a:srgbClr val="EC2B8C"/>
      </a:accent1>
      <a:accent2>
        <a:srgbClr val="9477E2"/>
      </a:accent2>
      <a:accent3>
        <a:srgbClr val="6A37C7"/>
      </a:accent3>
      <a:accent4>
        <a:srgbClr val="19C8EB"/>
      </a:accent4>
      <a:accent5>
        <a:srgbClr val="892293"/>
      </a:accent5>
      <a:accent6>
        <a:srgbClr val="CB0FB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616b8aef-6455-4976-9c01-04c53f6130ff" xsi:nil="true"/>
    <lcf76f155ced4ddcb4097134ff3c332f xmlns="00f60db1-cfdd-448f-aa70-10369155ee8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0ECF42-C7EF-4573-859E-225507C8DB1E}">
  <ds:schemaRefs>
    <ds:schemaRef ds:uri="http://schemas.microsoft.com/sharepoint/v3"/>
    <ds:schemaRef ds:uri="http://schemas.microsoft.com/office/2006/documentManagement/types"/>
    <ds:schemaRef ds:uri="http://purl.org/dc/terms/"/>
    <ds:schemaRef ds:uri="http://schemas.openxmlformats.org/package/2006/metadata/core-properties"/>
    <ds:schemaRef ds:uri="616b8aef-6455-4976-9c01-04c53f6130ff"/>
    <ds:schemaRef ds:uri="http://www.w3.org/XML/1998/namespace"/>
    <ds:schemaRef ds:uri="http://purl.org/dc/elements/1.1/"/>
    <ds:schemaRef ds:uri="http://purl.org/dc/dcmitype/"/>
    <ds:schemaRef ds:uri="http://schemas.microsoft.com/office/infopath/2007/PartnerControls"/>
    <ds:schemaRef ds:uri="00f60db1-cfdd-448f-aa70-10369155ee85"/>
    <ds:schemaRef ds:uri="http://schemas.microsoft.com/office/2006/metadata/properties"/>
  </ds:schemaRefs>
</ds:datastoreItem>
</file>

<file path=customXml/itemProps2.xml><?xml version="1.0" encoding="utf-8"?>
<ds:datastoreItem xmlns:ds="http://schemas.openxmlformats.org/officeDocument/2006/customXml" ds:itemID="{4C4BE5CC-0021-43FB-8809-4E301CCAB777}">
  <ds:schemaRefs>
    <ds:schemaRef ds:uri="http://schemas.microsoft.com/sharepoint/v3/contenttype/forms"/>
  </ds:schemaRefs>
</ds:datastoreItem>
</file>

<file path=customXml/itemProps3.xml><?xml version="1.0" encoding="utf-8"?>
<ds:datastoreItem xmlns:ds="http://schemas.openxmlformats.org/officeDocument/2006/customXml" ds:itemID="{AD362193-6A6B-4365-8C01-57B579FDEB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7189</Words>
  <Application>Microsoft Office PowerPoint</Application>
  <PresentationFormat>Widescreen</PresentationFormat>
  <Paragraphs>677</Paragraphs>
  <Slides>40</Slides>
  <Notes>40</Notes>
  <HiddenSlides>0</HiddenSlides>
  <MMClips>0</MMClips>
  <ScaleCrop>false</ScaleCrop>
  <HeadingPairs>
    <vt:vector size="8" baseType="variant">
      <vt:variant>
        <vt:lpstr>Fonts Used</vt:lpstr>
      </vt:variant>
      <vt:variant>
        <vt:i4>21</vt:i4>
      </vt:variant>
      <vt:variant>
        <vt:lpstr>Theme</vt:lpstr>
      </vt:variant>
      <vt:variant>
        <vt:i4>9</vt:i4>
      </vt:variant>
      <vt:variant>
        <vt:lpstr>Embedded OLE Servers</vt:lpstr>
      </vt:variant>
      <vt:variant>
        <vt:i4>1</vt:i4>
      </vt:variant>
      <vt:variant>
        <vt:lpstr>Slide Titles</vt:lpstr>
      </vt:variant>
      <vt:variant>
        <vt:i4>40</vt:i4>
      </vt:variant>
    </vt:vector>
  </HeadingPairs>
  <TitlesOfParts>
    <vt:vector size="71" baseType="lpstr">
      <vt:lpstr>等线</vt:lpstr>
      <vt:lpstr>等线</vt:lpstr>
      <vt:lpstr>adobe-clean</vt:lpstr>
      <vt:lpstr>-apple-system</vt:lpstr>
      <vt:lpstr>Aptos</vt:lpstr>
      <vt:lpstr>Arial</vt:lpstr>
      <vt:lpstr>Calibri</vt:lpstr>
      <vt:lpstr>Consolas</vt:lpstr>
      <vt:lpstr>Courier New</vt:lpstr>
      <vt:lpstr>Helvetica</vt:lpstr>
      <vt:lpstr>Helvetica Neue</vt:lpstr>
      <vt:lpstr>Lucida Console</vt:lpstr>
      <vt:lpstr>Segoe UI</vt:lpstr>
      <vt:lpstr>Segoe UI </vt:lpstr>
      <vt:lpstr>Segoe UI Black</vt:lpstr>
      <vt:lpstr>Segoe UI Light</vt:lpstr>
      <vt:lpstr>Segoe UI Semibold</vt:lpstr>
      <vt:lpstr>Söhne</vt:lpstr>
      <vt:lpstr>Symbol</vt:lpstr>
      <vt:lpstr>Times New Roman</vt:lpstr>
      <vt:lpstr>Wingdings</vt:lpstr>
      <vt:lpstr>Test</vt:lpstr>
      <vt:lpstr>Black Template</vt:lpstr>
      <vt:lpstr>1_9-51052_Microsoft_Inspire_Template_Dark</vt:lpstr>
      <vt:lpstr>3_Black Template</vt:lpstr>
      <vt:lpstr>1_Test</vt:lpstr>
      <vt:lpstr>2_Test</vt:lpstr>
      <vt:lpstr>White Template</vt:lpstr>
      <vt:lpstr>2_Office Theme</vt:lpstr>
      <vt:lpstr>3_Office Theme</vt:lpstr>
      <vt:lpstr>think-cell Slide</vt:lpstr>
      <vt:lpstr>TechExcel: Implementing DevOps practices to accelerate developer productivity</vt:lpstr>
      <vt:lpstr>Exercise four</vt:lpstr>
      <vt:lpstr>PowerPoint Presentation</vt:lpstr>
      <vt:lpstr>PowerPoint Presentation</vt:lpstr>
      <vt:lpstr>PowerPoint Presentation</vt:lpstr>
      <vt:lpstr>PowerPoint Presentation</vt:lpstr>
      <vt:lpstr>PowerPoint Presentation</vt:lpstr>
      <vt:lpstr>Exercise five</vt:lpstr>
      <vt:lpstr>The benefits of DevSecOps</vt:lpstr>
      <vt:lpstr>Develop apps securely with a unified solution from Microsoft</vt:lpstr>
      <vt:lpstr>Secure software development  with DevSecOps</vt:lpstr>
      <vt:lpstr>Secure your development environment</vt:lpstr>
      <vt:lpstr>Application Insights overview</vt:lpstr>
      <vt:lpstr>Application Insights overview – the Logic Model</vt:lpstr>
      <vt:lpstr>Exercise three: improve and deploy your application (part two)</vt:lpstr>
      <vt:lpstr>Introductions: improve and deploy your application</vt:lpstr>
      <vt:lpstr>Exercise three architecture </vt:lpstr>
      <vt:lpstr>Deploy a Bicep template</vt:lpstr>
      <vt:lpstr>CI/CD for .NET websites with GitHub actions</vt:lpstr>
      <vt:lpstr>Exercise three summary Improve and deploy your application</vt:lpstr>
      <vt:lpstr>Debrief exercise three</vt:lpstr>
      <vt:lpstr>Exercise four: implement load testing and secure practices</vt:lpstr>
      <vt:lpstr>Introductions: implement load testing and secure practices</vt:lpstr>
      <vt:lpstr>Exercise four architecture </vt:lpstr>
      <vt:lpstr>Build and run a load test </vt:lpstr>
      <vt:lpstr>Working with Azure load testing</vt:lpstr>
      <vt:lpstr>Build an Azure Chaos experiment</vt:lpstr>
      <vt:lpstr>Exercise four (mid-exercise check-in)</vt:lpstr>
      <vt:lpstr>Exercise four summary Configure load testing</vt:lpstr>
      <vt:lpstr>Debrief exercise four</vt:lpstr>
      <vt:lpstr>Exercise five: make things secure</vt:lpstr>
      <vt:lpstr>Introductions: security and monitoring</vt:lpstr>
      <vt:lpstr>Exercise five architecture </vt:lpstr>
      <vt:lpstr>Branch policies</vt:lpstr>
      <vt:lpstr>Setup a security policy for a GitHub Repo</vt:lpstr>
      <vt:lpstr>Code security and analysis</vt:lpstr>
      <vt:lpstr>Monitor the application</vt:lpstr>
      <vt:lpstr>Exercise five summary Make things secure</vt:lpstr>
      <vt:lpstr>Debrief exercise five</vt:lpstr>
      <vt:lpstr>Debrief exercise fiv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Excel: Deploying and running Java applications in Azure Kubernetes Services</dc:title>
  <dc:creator/>
  <cp:lastModifiedBy/>
  <cp:revision>65</cp:revision>
  <dcterms:created xsi:type="dcterms:W3CDTF">2023-09-07T16:12:50Z</dcterms:created>
  <dcterms:modified xsi:type="dcterms:W3CDTF">2024-03-06T00: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Order">
    <vt:lpwstr>784600.000000000</vt:lpwstr>
  </property>
  <property fmtid="{D5CDD505-2E9C-101B-9397-08002B2CF9AE}" pid="4" name="_dlc_policyId">
    <vt:lpwstr>/sites/Microsoft/Shared Documents</vt:lpwstr>
  </property>
  <property fmtid="{D5CDD505-2E9C-101B-9397-08002B2CF9AE}" pid="5" name="MSIP_Label_eca2e069-023d-499f-8073-00cfd442a338_SiteId">
    <vt:lpwstr>e076b593-d7db-4a8e-9556-04bbe80df72d</vt:lpwstr>
  </property>
  <property fmtid="{D5CDD505-2E9C-101B-9397-08002B2CF9AE}" pid="6" name="xd_ProgID">
    <vt:lpwstr/>
  </property>
  <property fmtid="{D5CDD505-2E9C-101B-9397-08002B2CF9AE}" pid="7" name="MediaServiceImageTags">
    <vt:lpwstr/>
  </property>
  <property fmtid="{D5CDD505-2E9C-101B-9397-08002B2CF9AE}" pid="8" name="ContentTypeId">
    <vt:lpwstr>0x0101009633AF39C6599F40B2CC84C6158556CF</vt:lpwstr>
  </property>
  <property fmtid="{D5CDD505-2E9C-101B-9397-08002B2CF9AE}" pid="9" name="MSIP_Label_eca2e069-023d-499f-8073-00cfd442a338_Method">
    <vt:lpwstr>Standard</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SIP_Label_eca2e069-023d-499f-8073-00cfd442a338_Enabled">
    <vt:lpwstr>true</vt:lpwstr>
  </property>
  <property fmtid="{D5CDD505-2E9C-101B-9397-08002B2CF9AE}" pid="15" name="xd_Signature">
    <vt:lpwstr/>
  </property>
  <property fmtid="{D5CDD505-2E9C-101B-9397-08002B2CF9AE}" pid="16" name="MSIP_Label_eca2e069-023d-499f-8073-00cfd442a338_ActionId">
    <vt:lpwstr>1a58dd78-4a99-4bf2-94ec-7613ee2e334c</vt:lpwstr>
  </property>
  <property fmtid="{D5CDD505-2E9C-101B-9397-08002B2CF9AE}" pid="17" name="ArticulateGUID">
    <vt:lpwstr>2F9C2C93-9A08-4E7B-9CD8-65B15EAEFE2F</vt:lpwstr>
  </property>
  <property fmtid="{D5CDD505-2E9C-101B-9397-08002B2CF9AE}" pid="18" name="ArticulatePath">
    <vt:lpwstr>https://microsoft.sharepoint.com/teams/TechnicalApplicationWorkshopDevelopment-AppInnovation/Shared Documents/App Innovation/App Innovation/TechExcel - Deploying and running Java applications in Azure Kubernetes Services/02 Alpha ready for review/WIP/Day_1_Gen_Welcome&amp;WorkshopOverview</vt:lpwstr>
  </property>
  <property fmtid="{D5CDD505-2E9C-101B-9397-08002B2CF9AE}" pid="19" name="MSIP_Label_eca2e069-023d-499f-8073-00cfd442a338_SetDate">
    <vt:lpwstr>2023-05-09T15:47:54Z</vt:lpwstr>
  </property>
  <property fmtid="{D5CDD505-2E9C-101B-9397-08002B2CF9AE}" pid="20"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y fmtid="{D5CDD505-2E9C-101B-9397-08002B2CF9AE}" pid="21" name="MSIP_Label_eca2e069-023d-499f-8073-00cfd442a338_Name">
    <vt:lpwstr>defa4170-0d19-0005-0004-bc88714345d2</vt:lpwstr>
  </property>
</Properties>
</file>